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9" r:id="rId2"/>
  </p:sldMasterIdLst>
  <p:notesMasterIdLst>
    <p:notesMasterId r:id="rId11"/>
  </p:notesMasterIdLst>
  <p:sldIdLst>
    <p:sldId id="1787" r:id="rId3"/>
    <p:sldId id="1788" r:id="rId4"/>
    <p:sldId id="781" r:id="rId5"/>
    <p:sldId id="1067" r:id="rId6"/>
    <p:sldId id="792" r:id="rId7"/>
    <p:sldId id="1790" r:id="rId8"/>
    <p:sldId id="886" r:id="rId9"/>
    <p:sldId id="767"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56F18E8-E984-4EFE-AC61-402D1E323621}">
          <p14:sldIdLst>
            <p14:sldId id="1787"/>
            <p14:sldId id="1788"/>
            <p14:sldId id="781"/>
            <p14:sldId id="1067"/>
            <p14:sldId id="792"/>
            <p14:sldId id="1790"/>
            <p14:sldId id="886"/>
            <p14:sldId id="76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D8390"/>
    <a:srgbClr val="009A44"/>
    <a:srgbClr val="DCF0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57" d="100"/>
          <a:sy n="57" d="100"/>
        </p:scale>
        <p:origin x="1016"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CB315B-670D-43A5-9522-F7FCD81774FB}" type="datetimeFigureOut">
              <a:rPr lang="en-US" smtClean="0"/>
              <a:t>3/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7E3352-C813-4DD5-A411-EDABDA9479AF}" type="slidenum">
              <a:rPr lang="en-US" smtClean="0"/>
              <a:t>‹#›</a:t>
            </a:fld>
            <a:endParaRPr lang="en-US"/>
          </a:p>
        </p:txBody>
      </p:sp>
    </p:spTree>
    <p:extLst>
      <p:ext uri="{BB962C8B-B14F-4D97-AF65-F5344CB8AC3E}">
        <p14:creationId xmlns:p14="http://schemas.microsoft.com/office/powerpoint/2010/main" val="24574517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811865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6</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E24ECD-28D2-4F35-A46E-7EC2E480A9F3}" type="slidenum">
              <a:rPr kumimoji="1" lang="ja-JP"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1" lang="ja-JP"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7190797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867018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10542874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6702321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33554156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946204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710199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44429304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45838389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dirty="0"/>
              <a:t>Click to add title</a:t>
            </a:r>
          </a:p>
        </p:txBody>
      </p:sp>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2987888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subtitle - Black">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355917"/>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Tree>
    <p:extLst>
      <p:ext uri="{BB962C8B-B14F-4D97-AF65-F5344CB8AC3E}">
        <p14:creationId xmlns:p14="http://schemas.microsoft.com/office/powerpoint/2010/main" val="794715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594360"/>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Tree>
    <p:extLst>
      <p:ext uri="{BB962C8B-B14F-4D97-AF65-F5344CB8AC3E}">
        <p14:creationId xmlns:p14="http://schemas.microsoft.com/office/powerpoint/2010/main" val="144860851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2 chart">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Chart Placeholder 2"/>
          <p:cNvSpPr>
            <a:spLocks noGrp="1"/>
          </p:cNvSpPr>
          <p:nvPr>
            <p:ph type="chart" sz="quarter" idx="21"/>
          </p:nvPr>
        </p:nvSpPr>
        <p:spPr>
          <a:xfrm>
            <a:off x="6338155" y="2125013"/>
            <a:ext cx="5325845"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6338157" y="1700213"/>
            <a:ext cx="5325844" cy="385762"/>
          </a:xfrm>
        </p:spPr>
        <p:txBody>
          <a:bodyPr/>
          <a:lstStyle/>
          <a:p>
            <a:pPr lvl="0"/>
            <a:r>
              <a:rPr lang="en-US"/>
              <a:t>Click to edit Master text styles</a:t>
            </a:r>
          </a:p>
        </p:txBody>
      </p:sp>
      <p:sp>
        <p:nvSpPr>
          <p:cNvPr id="15"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2920" y="2125013"/>
            <a:ext cx="5316825" cy="399600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502920" y="1700213"/>
            <a:ext cx="5319272" cy="385762"/>
          </a:xfrm>
        </p:spPr>
        <p:txBody>
          <a:bodyPr/>
          <a:lstStyle/>
          <a:p>
            <a:pPr lvl="0"/>
            <a:r>
              <a:rPr lang="en-US"/>
              <a:t>Click to edit Master text styles</a:t>
            </a:r>
          </a:p>
        </p:txBody>
      </p:sp>
    </p:spTree>
    <p:extLst>
      <p:ext uri="{BB962C8B-B14F-4D97-AF65-F5344CB8AC3E}">
        <p14:creationId xmlns:p14="http://schemas.microsoft.com/office/powerpoint/2010/main" val="2565229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85096922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2920" y="2052000"/>
            <a:ext cx="11145628" cy="406901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02920" y="1700214"/>
            <a:ext cx="11136001" cy="357187"/>
          </a:xfrm>
        </p:spPr>
        <p:txBody>
          <a:bodyPr/>
          <a:lstStyle/>
          <a:p>
            <a:pPr lvl="0"/>
            <a:r>
              <a:rPr lang="en-US"/>
              <a:t>Click to edit Master text styles</a:t>
            </a:r>
          </a:p>
        </p:txBody>
      </p:sp>
      <p:sp>
        <p:nvSpPr>
          <p:cNvPr id="19"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31892108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 chart - Black">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2920" y="2051999"/>
            <a:ext cx="3522776" cy="4069014"/>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02920" y="1700214"/>
            <a:ext cx="3537600" cy="357187"/>
          </a:xfrm>
        </p:spPr>
        <p:txBody>
          <a:bodyPr/>
          <a:lstStyle/>
          <a:p>
            <a:pPr lvl="0"/>
            <a:r>
              <a:rPr lang="en-US"/>
              <a:t>Click to 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r>
              <a:rPr lang="en-US"/>
              <a:t>Click icon to add chart</a:t>
            </a:r>
            <a:endParaRPr lang="en-GB" dirty="0"/>
          </a:p>
        </p:txBody>
      </p:sp>
      <p:sp>
        <p:nvSpPr>
          <p:cNvPr id="8" name="Text Placeholder 8"/>
          <p:cNvSpPr>
            <a:spLocks noGrp="1"/>
          </p:cNvSpPr>
          <p:nvPr>
            <p:ph type="body" sz="quarter" idx="20"/>
          </p:nvPr>
        </p:nvSpPr>
        <p:spPr>
          <a:xfrm>
            <a:off x="4327199" y="1700214"/>
            <a:ext cx="3537600" cy="357187"/>
          </a:xfrm>
        </p:spPr>
        <p:txBody>
          <a:bodyPr/>
          <a:lstStyle/>
          <a:p>
            <a:pPr lvl="0"/>
            <a:r>
              <a:rPr lang="en-US"/>
              <a:t>Click to 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r>
              <a:rPr lang="en-US"/>
              <a:t>Click icon to add chart</a:t>
            </a:r>
            <a:endParaRPr lang="en-GB" dirty="0"/>
          </a:p>
        </p:txBody>
      </p:sp>
      <p:sp>
        <p:nvSpPr>
          <p:cNvPr id="10" name="Text Placeholder 8"/>
          <p:cNvSpPr>
            <a:spLocks noGrp="1"/>
          </p:cNvSpPr>
          <p:nvPr>
            <p:ph type="body" sz="quarter" idx="22"/>
          </p:nvPr>
        </p:nvSpPr>
        <p:spPr>
          <a:xfrm>
            <a:off x="8144286" y="1700214"/>
            <a:ext cx="3540671" cy="357187"/>
          </a:xfrm>
        </p:spPr>
        <p:txBody>
          <a:bodyPr/>
          <a:lstStyle/>
          <a:p>
            <a:pPr lvl="0"/>
            <a:r>
              <a:rPr lang="en-US"/>
              <a:t>Click to edit Master text styles</a:t>
            </a:r>
          </a:p>
        </p:txBody>
      </p:sp>
      <p:sp>
        <p:nvSpPr>
          <p:cNvPr id="12"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31019360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Tree>
    <p:extLst>
      <p:ext uri="{BB962C8B-B14F-4D97-AF65-F5344CB8AC3E}">
        <p14:creationId xmlns:p14="http://schemas.microsoft.com/office/powerpoint/2010/main" val="3140645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9" name="Title Placeholder 1"/>
          <p:cNvSpPr>
            <a:spLocks noGrp="1"/>
          </p:cNvSpPr>
          <p:nvPr>
            <p:ph type="title" hasCustomPrompt="1"/>
          </p:nvPr>
        </p:nvSpPr>
        <p:spPr>
          <a:xfrm>
            <a:off x="502920" y="320040"/>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2919" y="1700213"/>
            <a:ext cx="11164147" cy="4681538"/>
          </a:xfrm>
          <a:prstGeom prst="rect">
            <a:avLst/>
          </a:prstGeom>
        </p:spPr>
        <p:txBody>
          <a:bodyPr vert="horz" lIns="0" tIns="0" rIns="0" bIns="0" rtlCol="0">
            <a:normAutofit/>
          </a:bodyPr>
          <a:lstStyle>
            <a:lvl1pPr>
              <a:defRPr sz="1300"/>
            </a:lvl1pPr>
            <a:lvl2pPr>
              <a:defRPr sz="1300"/>
            </a:lvl2pPr>
            <a:lvl3pPr>
              <a:defRPr sz="1300"/>
            </a:lvl3pPr>
            <a:lvl4pPr>
              <a:defRPr sz="1300"/>
            </a:lvl4pPr>
            <a:lvl5pPr>
              <a:defRPr sz="1300"/>
            </a:lvl5pPr>
            <a:lvl6pPr>
              <a:defRPr sz="1300"/>
            </a:lvl6pPr>
            <a:lvl7pPr>
              <a:defRPr sz="1300"/>
            </a:lvl7pPr>
            <a:lvl8pPr>
              <a:defRPr sz="1300"/>
            </a:lvl8pPr>
            <a:lvl9pPr>
              <a:defRPr sz="1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574243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1"/>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4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31590882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0305228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16" name="Group 15">
            <a:extLst>
              <a:ext uri="{FF2B5EF4-FFF2-40B4-BE49-F238E27FC236}">
                <a16:creationId xmlns:a16="http://schemas.microsoft.com/office/drawing/2014/main" id="{04997566-12DB-42C6-84E6-8E749C2312C6}"/>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0342BD48-5C4F-4819-BD37-89A6717CB90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A45883A3-A15B-4670-8B4D-F88093CD473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4A348EF0-ADC4-462A-90A0-4CFC003519D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A79EC0B1-EA9D-4403-8E95-16D34E280DB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61703B8D-1192-427B-A844-72937E69381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64D1D140-37E4-4FDD-AE02-1774414EBCBB}"/>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7C6572CF-06BE-469A-81CE-8D5296B315A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E43F102F-68A0-410F-B141-874D3FF27FE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52FA796B-05A6-4597-A863-F044BEB0670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CBD083F0-A3F9-415E-87B8-E17B452B56E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5378989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519136963"/>
      </p:ext>
    </p:extLst>
  </p:cSld>
  <p:clrMapOvr>
    <a:masterClrMapping/>
  </p:clrMapOvr>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285778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51251"/>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77320872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66606562"/>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41081790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20540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空白">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AC9E84-AA29-3D43-8913-C9E7FFAD9428}"/>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1. For information, contact Deloitte Global</a:t>
            </a:r>
          </a:p>
        </p:txBody>
      </p:sp>
      <p:sp>
        <p:nvSpPr>
          <p:cNvPr id="3" name="TextBox 2">
            <a:extLst>
              <a:ext uri="{FF2B5EF4-FFF2-40B4-BE49-F238E27FC236}">
                <a16:creationId xmlns:a16="http://schemas.microsoft.com/office/drawing/2014/main" id="{FD4A853B-3DF7-9E41-97FD-305CBF0C7280}"/>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Advanced graphics timesaver</a:t>
            </a:r>
          </a:p>
        </p:txBody>
      </p:sp>
      <p:sp>
        <p:nvSpPr>
          <p:cNvPr id="4" name="TextBox 3">
            <a:extLst>
              <a:ext uri="{FF2B5EF4-FFF2-40B4-BE49-F238E27FC236}">
                <a16:creationId xmlns:a16="http://schemas.microsoft.com/office/drawing/2014/main" id="{4E669115-3258-2840-90D8-5DE7535D357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C05A628D-2650-AD48-804E-8BA2A0597108}"/>
              </a:ext>
            </a:extLst>
          </p:cNvPr>
          <p:cNvSpPr txBox="1"/>
          <p:nvPr userDrawn="1"/>
        </p:nvSpPr>
        <p:spPr>
          <a:xfrm>
            <a:off x="654049" y="66294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 2021. For information, contact Deloitte Global</a:t>
            </a:r>
          </a:p>
        </p:txBody>
      </p:sp>
    </p:spTree>
    <p:extLst>
      <p:ext uri="{BB962C8B-B14F-4D97-AF65-F5344CB8AC3E}">
        <p14:creationId xmlns:p14="http://schemas.microsoft.com/office/powerpoint/2010/main" val="72208742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空白">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AC9E84-AA29-3D43-8913-C9E7FFAD9428}"/>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1. For information, contact Deloitte Global</a:t>
            </a:r>
          </a:p>
        </p:txBody>
      </p:sp>
      <p:sp>
        <p:nvSpPr>
          <p:cNvPr id="3" name="TextBox 2">
            <a:extLst>
              <a:ext uri="{FF2B5EF4-FFF2-40B4-BE49-F238E27FC236}">
                <a16:creationId xmlns:a16="http://schemas.microsoft.com/office/drawing/2014/main" id="{FD4A853B-3DF7-9E41-97FD-305CBF0C7280}"/>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Advanced graphics timesaver</a:t>
            </a:r>
          </a:p>
        </p:txBody>
      </p:sp>
      <p:sp>
        <p:nvSpPr>
          <p:cNvPr id="4" name="TextBox 3">
            <a:extLst>
              <a:ext uri="{FF2B5EF4-FFF2-40B4-BE49-F238E27FC236}">
                <a16:creationId xmlns:a16="http://schemas.microsoft.com/office/drawing/2014/main" id="{4E669115-3258-2840-90D8-5DE7535D357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5" name="Freeform 6"/>
          <p:cNvSpPr>
            <a:spLocks noEditPoints="1"/>
          </p:cNvSpPr>
          <p:nvPr userDrawn="1"/>
        </p:nvSpPr>
        <p:spPr bwMode="auto">
          <a:xfrm>
            <a:off x="1672440" y="696562"/>
            <a:ext cx="8893960" cy="3722142"/>
          </a:xfrm>
          <a:custGeom>
            <a:avLst/>
            <a:gdLst>
              <a:gd name="T0" fmla="*/ 9032 w 9534"/>
              <a:gd name="T1" fmla="*/ 2729 h 3990"/>
              <a:gd name="T2" fmla="*/ 8371 w 9534"/>
              <a:gd name="T3" fmla="*/ 2925 h 3990"/>
              <a:gd name="T4" fmla="*/ 7037 w 9534"/>
              <a:gd name="T5" fmla="*/ 1028 h 3990"/>
              <a:gd name="T6" fmla="*/ 6658 w 9534"/>
              <a:gd name="T7" fmla="*/ 1334 h 3990"/>
              <a:gd name="T8" fmla="*/ 5850 w 9534"/>
              <a:gd name="T9" fmla="*/ 2815 h 3990"/>
              <a:gd name="T10" fmla="*/ 5275 w 9534"/>
              <a:gd name="T11" fmla="*/ 2081 h 3990"/>
              <a:gd name="T12" fmla="*/ 4455 w 9534"/>
              <a:gd name="T13" fmla="*/ 2240 h 3990"/>
              <a:gd name="T14" fmla="*/ 4467 w 9534"/>
              <a:gd name="T15" fmla="*/ 3549 h 3990"/>
              <a:gd name="T16" fmla="*/ 4369 w 9534"/>
              <a:gd name="T17" fmla="*/ 1677 h 3990"/>
              <a:gd name="T18" fmla="*/ 3892 w 9534"/>
              <a:gd name="T19" fmla="*/ 1677 h 3990"/>
              <a:gd name="T20" fmla="*/ 3610 w 9534"/>
              <a:gd name="T21" fmla="*/ 2656 h 3990"/>
              <a:gd name="T22" fmla="*/ 2068 w 9534"/>
              <a:gd name="T23" fmla="*/ 3402 h 3990"/>
              <a:gd name="T24" fmla="*/ 1579 w 9534"/>
              <a:gd name="T25" fmla="*/ 2619 h 3990"/>
              <a:gd name="T26" fmla="*/ 1775 w 9534"/>
              <a:gd name="T27" fmla="*/ 844 h 3990"/>
              <a:gd name="T28" fmla="*/ 5813 w 9534"/>
              <a:gd name="T29" fmla="*/ 808 h 3990"/>
              <a:gd name="T30" fmla="*/ 6303 w 9534"/>
              <a:gd name="T31" fmla="*/ 857 h 3990"/>
              <a:gd name="T32" fmla="*/ 6695 w 9534"/>
              <a:gd name="T33" fmla="*/ 893 h 3990"/>
              <a:gd name="T34" fmla="*/ 6254 w 9534"/>
              <a:gd name="T35" fmla="*/ 759 h 3990"/>
              <a:gd name="T36" fmla="*/ 3390 w 9534"/>
              <a:gd name="T37" fmla="*/ 2509 h 3990"/>
              <a:gd name="T38" fmla="*/ 3329 w 9534"/>
              <a:gd name="T39" fmla="*/ 3280 h 3990"/>
              <a:gd name="T40" fmla="*/ 2717 w 9534"/>
              <a:gd name="T41" fmla="*/ 3158 h 3990"/>
              <a:gd name="T42" fmla="*/ 2264 w 9534"/>
              <a:gd name="T43" fmla="*/ 3402 h 3990"/>
              <a:gd name="T44" fmla="*/ 1628 w 9534"/>
              <a:gd name="T45" fmla="*/ 783 h 3990"/>
              <a:gd name="T46" fmla="*/ 2117 w 9534"/>
              <a:gd name="T47" fmla="*/ 808 h 3990"/>
              <a:gd name="T48" fmla="*/ 2338 w 9534"/>
              <a:gd name="T49" fmla="*/ 673 h 3990"/>
              <a:gd name="T50" fmla="*/ 9412 w 9534"/>
              <a:gd name="T51" fmla="*/ 3011 h 3990"/>
              <a:gd name="T52" fmla="*/ 9179 w 9534"/>
              <a:gd name="T53" fmla="*/ 3415 h 3990"/>
              <a:gd name="T54" fmla="*/ 8898 w 9534"/>
              <a:gd name="T55" fmla="*/ 3182 h 3990"/>
              <a:gd name="T56" fmla="*/ 8861 w 9534"/>
              <a:gd name="T57" fmla="*/ 3451 h 3990"/>
              <a:gd name="T58" fmla="*/ 8506 w 9534"/>
              <a:gd name="T59" fmla="*/ 1970 h 3990"/>
              <a:gd name="T60" fmla="*/ 7784 w 9534"/>
              <a:gd name="T61" fmla="*/ 3158 h 3990"/>
              <a:gd name="T62" fmla="*/ 7588 w 9534"/>
              <a:gd name="T63" fmla="*/ 1872 h 3990"/>
              <a:gd name="T64" fmla="*/ 7368 w 9534"/>
              <a:gd name="T65" fmla="*/ 893 h 3990"/>
              <a:gd name="T66" fmla="*/ 7258 w 9534"/>
              <a:gd name="T67" fmla="*/ 343 h 3990"/>
              <a:gd name="T68" fmla="*/ 7172 w 9534"/>
              <a:gd name="T69" fmla="*/ 2093 h 3990"/>
              <a:gd name="T70" fmla="*/ 7172 w 9534"/>
              <a:gd name="T71" fmla="*/ 1187 h 3990"/>
              <a:gd name="T72" fmla="*/ 7074 w 9534"/>
              <a:gd name="T73" fmla="*/ 538 h 3990"/>
              <a:gd name="T74" fmla="*/ 7147 w 9534"/>
              <a:gd name="T75" fmla="*/ 3353 h 3990"/>
              <a:gd name="T76" fmla="*/ 7233 w 9534"/>
              <a:gd name="T77" fmla="*/ 3806 h 3990"/>
              <a:gd name="T78" fmla="*/ 6621 w 9534"/>
              <a:gd name="T79" fmla="*/ 2815 h 3990"/>
              <a:gd name="T80" fmla="*/ 5985 w 9534"/>
              <a:gd name="T81" fmla="*/ 2705 h 3990"/>
              <a:gd name="T82" fmla="*/ 5275 w 9534"/>
              <a:gd name="T83" fmla="*/ 3525 h 3990"/>
              <a:gd name="T84" fmla="*/ 5201 w 9534"/>
              <a:gd name="T85" fmla="*/ 3659 h 3990"/>
              <a:gd name="T86" fmla="*/ 5067 w 9534"/>
              <a:gd name="T87" fmla="*/ 3500 h 3990"/>
              <a:gd name="T88" fmla="*/ 4957 w 9534"/>
              <a:gd name="T89" fmla="*/ 2081 h 3990"/>
              <a:gd name="T90" fmla="*/ 4847 w 9534"/>
              <a:gd name="T91" fmla="*/ 2350 h 3990"/>
              <a:gd name="T92" fmla="*/ 4932 w 9534"/>
              <a:gd name="T93" fmla="*/ 3549 h 3990"/>
              <a:gd name="T94" fmla="*/ 4638 w 9534"/>
              <a:gd name="T95" fmla="*/ 1909 h 3990"/>
              <a:gd name="T96" fmla="*/ 4626 w 9534"/>
              <a:gd name="T97" fmla="*/ 3207 h 3990"/>
              <a:gd name="T98" fmla="*/ 4565 w 9534"/>
              <a:gd name="T99" fmla="*/ 3708 h 3990"/>
              <a:gd name="T100" fmla="*/ 4590 w 9534"/>
              <a:gd name="T101" fmla="*/ 3378 h 3990"/>
              <a:gd name="T102" fmla="*/ 4137 w 9534"/>
              <a:gd name="T103" fmla="*/ 3219 h 3990"/>
              <a:gd name="T104" fmla="*/ 4137 w 9534"/>
              <a:gd name="T105" fmla="*/ 1579 h 3990"/>
              <a:gd name="T106" fmla="*/ 3904 w 9534"/>
              <a:gd name="T107" fmla="*/ 1554 h 3990"/>
              <a:gd name="T108" fmla="*/ 1970 w 9534"/>
              <a:gd name="T109" fmla="*/ 3280 h 3990"/>
              <a:gd name="T110" fmla="*/ 1542 w 9534"/>
              <a:gd name="T111" fmla="*/ 2815 h 3990"/>
              <a:gd name="T112" fmla="*/ 869 w 9534"/>
              <a:gd name="T113" fmla="*/ 3047 h 3990"/>
              <a:gd name="T114" fmla="*/ 869 w 9534"/>
              <a:gd name="T115" fmla="*/ 2203 h 3990"/>
              <a:gd name="T116" fmla="*/ 881 w 9534"/>
              <a:gd name="T117" fmla="*/ 967 h 3990"/>
              <a:gd name="T118" fmla="*/ 918 w 9534"/>
              <a:gd name="T119" fmla="*/ 465 h 3990"/>
              <a:gd name="T120" fmla="*/ 844 w 9534"/>
              <a:gd name="T121" fmla="*/ 2815 h 3990"/>
              <a:gd name="T122" fmla="*/ 538 w 9534"/>
              <a:gd name="T123" fmla="*/ 673 h 3990"/>
              <a:gd name="T124" fmla="*/ 844 w 9534"/>
              <a:gd name="T125" fmla="*/ 3794 h 3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34" h="3990">
                <a:moveTo>
                  <a:pt x="9436" y="3818"/>
                </a:moveTo>
                <a:lnTo>
                  <a:pt x="9436" y="3733"/>
                </a:lnTo>
                <a:lnTo>
                  <a:pt x="9485" y="3733"/>
                </a:lnTo>
                <a:lnTo>
                  <a:pt x="9485" y="3696"/>
                </a:lnTo>
                <a:lnTo>
                  <a:pt x="9436" y="3696"/>
                </a:lnTo>
                <a:lnTo>
                  <a:pt x="9436" y="3586"/>
                </a:lnTo>
                <a:lnTo>
                  <a:pt x="9485" y="3586"/>
                </a:lnTo>
                <a:lnTo>
                  <a:pt x="9485" y="3561"/>
                </a:lnTo>
                <a:lnTo>
                  <a:pt x="9436" y="3561"/>
                </a:lnTo>
                <a:lnTo>
                  <a:pt x="9436" y="3451"/>
                </a:lnTo>
                <a:lnTo>
                  <a:pt x="9485" y="3451"/>
                </a:lnTo>
                <a:lnTo>
                  <a:pt x="9485" y="3415"/>
                </a:lnTo>
                <a:lnTo>
                  <a:pt x="9436" y="3415"/>
                </a:lnTo>
                <a:lnTo>
                  <a:pt x="9436" y="3304"/>
                </a:lnTo>
                <a:lnTo>
                  <a:pt x="9485" y="3304"/>
                </a:lnTo>
                <a:lnTo>
                  <a:pt x="9485" y="3268"/>
                </a:lnTo>
                <a:lnTo>
                  <a:pt x="9436" y="3268"/>
                </a:lnTo>
                <a:lnTo>
                  <a:pt x="9436" y="3182"/>
                </a:lnTo>
                <a:lnTo>
                  <a:pt x="9485" y="3182"/>
                </a:lnTo>
                <a:lnTo>
                  <a:pt x="9485" y="3158"/>
                </a:lnTo>
                <a:lnTo>
                  <a:pt x="9436" y="3158"/>
                </a:lnTo>
                <a:lnTo>
                  <a:pt x="9436" y="3047"/>
                </a:lnTo>
                <a:lnTo>
                  <a:pt x="9485" y="3047"/>
                </a:lnTo>
                <a:lnTo>
                  <a:pt x="9485" y="3011"/>
                </a:lnTo>
                <a:lnTo>
                  <a:pt x="9436" y="3011"/>
                </a:lnTo>
                <a:lnTo>
                  <a:pt x="9436" y="2901"/>
                </a:lnTo>
                <a:lnTo>
                  <a:pt x="9485" y="2901"/>
                </a:lnTo>
                <a:lnTo>
                  <a:pt x="9485" y="2864"/>
                </a:lnTo>
                <a:lnTo>
                  <a:pt x="9436" y="2864"/>
                </a:lnTo>
                <a:lnTo>
                  <a:pt x="9436" y="2766"/>
                </a:lnTo>
                <a:lnTo>
                  <a:pt x="9485" y="2766"/>
                </a:lnTo>
                <a:lnTo>
                  <a:pt x="9485" y="2729"/>
                </a:lnTo>
                <a:lnTo>
                  <a:pt x="9436" y="2729"/>
                </a:lnTo>
                <a:lnTo>
                  <a:pt x="9436" y="2509"/>
                </a:lnTo>
                <a:lnTo>
                  <a:pt x="9412" y="2509"/>
                </a:lnTo>
                <a:lnTo>
                  <a:pt x="9412" y="2729"/>
                </a:lnTo>
                <a:lnTo>
                  <a:pt x="9338" y="2729"/>
                </a:lnTo>
                <a:lnTo>
                  <a:pt x="9338" y="2582"/>
                </a:lnTo>
                <a:lnTo>
                  <a:pt x="9314" y="2582"/>
                </a:lnTo>
                <a:lnTo>
                  <a:pt x="9314" y="2729"/>
                </a:lnTo>
                <a:lnTo>
                  <a:pt x="9167" y="2729"/>
                </a:lnTo>
                <a:lnTo>
                  <a:pt x="9167" y="2509"/>
                </a:lnTo>
                <a:lnTo>
                  <a:pt x="9130" y="2509"/>
                </a:lnTo>
                <a:lnTo>
                  <a:pt x="9130" y="2729"/>
                </a:lnTo>
                <a:lnTo>
                  <a:pt x="9069" y="2729"/>
                </a:lnTo>
                <a:lnTo>
                  <a:pt x="9069" y="2582"/>
                </a:lnTo>
                <a:lnTo>
                  <a:pt x="9032" y="2582"/>
                </a:lnTo>
                <a:lnTo>
                  <a:pt x="9032" y="2729"/>
                </a:lnTo>
                <a:lnTo>
                  <a:pt x="8898" y="2729"/>
                </a:lnTo>
                <a:lnTo>
                  <a:pt x="8898" y="2509"/>
                </a:lnTo>
                <a:lnTo>
                  <a:pt x="8861" y="2509"/>
                </a:lnTo>
                <a:lnTo>
                  <a:pt x="8861" y="2729"/>
                </a:lnTo>
                <a:lnTo>
                  <a:pt x="8800" y="2729"/>
                </a:lnTo>
                <a:lnTo>
                  <a:pt x="8800" y="2717"/>
                </a:lnTo>
                <a:lnTo>
                  <a:pt x="8763" y="2717"/>
                </a:lnTo>
                <a:lnTo>
                  <a:pt x="8763" y="2729"/>
                </a:lnTo>
                <a:lnTo>
                  <a:pt x="8726" y="2729"/>
                </a:lnTo>
                <a:lnTo>
                  <a:pt x="8726" y="2766"/>
                </a:lnTo>
                <a:lnTo>
                  <a:pt x="8763" y="2766"/>
                </a:lnTo>
                <a:lnTo>
                  <a:pt x="8763" y="2864"/>
                </a:lnTo>
                <a:lnTo>
                  <a:pt x="8726" y="2864"/>
                </a:lnTo>
                <a:lnTo>
                  <a:pt x="8726" y="2901"/>
                </a:lnTo>
                <a:lnTo>
                  <a:pt x="8763" y="2901"/>
                </a:lnTo>
                <a:lnTo>
                  <a:pt x="8763" y="3011"/>
                </a:lnTo>
                <a:lnTo>
                  <a:pt x="8726" y="3011"/>
                </a:lnTo>
                <a:lnTo>
                  <a:pt x="8726" y="3047"/>
                </a:lnTo>
                <a:lnTo>
                  <a:pt x="8763" y="3047"/>
                </a:lnTo>
                <a:lnTo>
                  <a:pt x="8763" y="3158"/>
                </a:lnTo>
                <a:lnTo>
                  <a:pt x="8726" y="3158"/>
                </a:lnTo>
                <a:lnTo>
                  <a:pt x="8726" y="3182"/>
                </a:lnTo>
                <a:lnTo>
                  <a:pt x="8763" y="3182"/>
                </a:lnTo>
                <a:lnTo>
                  <a:pt x="8763" y="3268"/>
                </a:lnTo>
                <a:lnTo>
                  <a:pt x="8726" y="3268"/>
                </a:lnTo>
                <a:lnTo>
                  <a:pt x="8726" y="3304"/>
                </a:lnTo>
                <a:lnTo>
                  <a:pt x="8763" y="3304"/>
                </a:lnTo>
                <a:lnTo>
                  <a:pt x="8763" y="3415"/>
                </a:lnTo>
                <a:lnTo>
                  <a:pt x="8726" y="3415"/>
                </a:lnTo>
                <a:lnTo>
                  <a:pt x="8726" y="3451"/>
                </a:lnTo>
                <a:lnTo>
                  <a:pt x="8763" y="3451"/>
                </a:lnTo>
                <a:lnTo>
                  <a:pt x="8763" y="3561"/>
                </a:lnTo>
                <a:lnTo>
                  <a:pt x="8726" y="3561"/>
                </a:lnTo>
                <a:lnTo>
                  <a:pt x="8726" y="3586"/>
                </a:lnTo>
                <a:lnTo>
                  <a:pt x="8763" y="3586"/>
                </a:lnTo>
                <a:lnTo>
                  <a:pt x="8763" y="3696"/>
                </a:lnTo>
                <a:lnTo>
                  <a:pt x="8726" y="3696"/>
                </a:lnTo>
                <a:lnTo>
                  <a:pt x="8726" y="3733"/>
                </a:lnTo>
                <a:lnTo>
                  <a:pt x="8763" y="3733"/>
                </a:lnTo>
                <a:lnTo>
                  <a:pt x="8763" y="3818"/>
                </a:lnTo>
                <a:lnTo>
                  <a:pt x="8604" y="3818"/>
                </a:lnTo>
                <a:lnTo>
                  <a:pt x="8604" y="3451"/>
                </a:lnTo>
                <a:lnTo>
                  <a:pt x="8604" y="3366"/>
                </a:lnTo>
                <a:lnTo>
                  <a:pt x="8604" y="3268"/>
                </a:lnTo>
                <a:lnTo>
                  <a:pt x="8420" y="3268"/>
                </a:lnTo>
                <a:lnTo>
                  <a:pt x="8420" y="3158"/>
                </a:lnTo>
                <a:lnTo>
                  <a:pt x="8371" y="3158"/>
                </a:lnTo>
                <a:lnTo>
                  <a:pt x="8371" y="2925"/>
                </a:lnTo>
                <a:lnTo>
                  <a:pt x="8420" y="2925"/>
                </a:lnTo>
                <a:lnTo>
                  <a:pt x="8420" y="2790"/>
                </a:lnTo>
                <a:lnTo>
                  <a:pt x="8616" y="2790"/>
                </a:lnTo>
                <a:lnTo>
                  <a:pt x="8616" y="2607"/>
                </a:lnTo>
                <a:lnTo>
                  <a:pt x="8543" y="2607"/>
                </a:lnTo>
                <a:lnTo>
                  <a:pt x="8543" y="2582"/>
                </a:lnTo>
                <a:lnTo>
                  <a:pt x="8543" y="2533"/>
                </a:lnTo>
                <a:lnTo>
                  <a:pt x="8543" y="2374"/>
                </a:lnTo>
                <a:lnTo>
                  <a:pt x="8543" y="2325"/>
                </a:lnTo>
                <a:lnTo>
                  <a:pt x="8543" y="2166"/>
                </a:lnTo>
                <a:lnTo>
                  <a:pt x="8543" y="2117"/>
                </a:lnTo>
                <a:lnTo>
                  <a:pt x="8543" y="1958"/>
                </a:lnTo>
                <a:lnTo>
                  <a:pt x="8543" y="1909"/>
                </a:lnTo>
                <a:lnTo>
                  <a:pt x="8543" y="1872"/>
                </a:lnTo>
                <a:lnTo>
                  <a:pt x="8616" y="1872"/>
                </a:lnTo>
                <a:lnTo>
                  <a:pt x="8616" y="1689"/>
                </a:lnTo>
                <a:lnTo>
                  <a:pt x="8286" y="1689"/>
                </a:lnTo>
                <a:lnTo>
                  <a:pt x="8286" y="1493"/>
                </a:lnTo>
                <a:lnTo>
                  <a:pt x="7625" y="1493"/>
                </a:lnTo>
                <a:lnTo>
                  <a:pt x="7625" y="1689"/>
                </a:lnTo>
                <a:lnTo>
                  <a:pt x="7294" y="1689"/>
                </a:lnTo>
                <a:lnTo>
                  <a:pt x="7294" y="1701"/>
                </a:lnTo>
                <a:lnTo>
                  <a:pt x="7258" y="1701"/>
                </a:lnTo>
                <a:lnTo>
                  <a:pt x="7258" y="1481"/>
                </a:lnTo>
                <a:lnTo>
                  <a:pt x="7258" y="1444"/>
                </a:lnTo>
                <a:lnTo>
                  <a:pt x="7258" y="1297"/>
                </a:lnTo>
                <a:lnTo>
                  <a:pt x="7258" y="1261"/>
                </a:lnTo>
                <a:lnTo>
                  <a:pt x="7258" y="1114"/>
                </a:lnTo>
                <a:lnTo>
                  <a:pt x="7258" y="1077"/>
                </a:lnTo>
                <a:lnTo>
                  <a:pt x="7258" y="1028"/>
                </a:lnTo>
                <a:lnTo>
                  <a:pt x="7294" y="1028"/>
                </a:lnTo>
                <a:lnTo>
                  <a:pt x="7294" y="955"/>
                </a:lnTo>
                <a:lnTo>
                  <a:pt x="7735" y="955"/>
                </a:lnTo>
                <a:lnTo>
                  <a:pt x="7735" y="1004"/>
                </a:lnTo>
                <a:lnTo>
                  <a:pt x="7980" y="1004"/>
                </a:lnTo>
                <a:lnTo>
                  <a:pt x="7980" y="710"/>
                </a:lnTo>
                <a:lnTo>
                  <a:pt x="7735" y="710"/>
                </a:lnTo>
                <a:lnTo>
                  <a:pt x="7735" y="722"/>
                </a:lnTo>
                <a:lnTo>
                  <a:pt x="7160" y="147"/>
                </a:lnTo>
                <a:lnTo>
                  <a:pt x="5458" y="881"/>
                </a:lnTo>
                <a:lnTo>
                  <a:pt x="5458" y="881"/>
                </a:lnTo>
                <a:lnTo>
                  <a:pt x="5361" y="918"/>
                </a:lnTo>
                <a:lnTo>
                  <a:pt x="5361" y="955"/>
                </a:lnTo>
                <a:lnTo>
                  <a:pt x="6376" y="955"/>
                </a:lnTo>
                <a:lnTo>
                  <a:pt x="6425" y="955"/>
                </a:lnTo>
                <a:lnTo>
                  <a:pt x="7001" y="955"/>
                </a:lnTo>
                <a:lnTo>
                  <a:pt x="7001" y="1028"/>
                </a:lnTo>
                <a:lnTo>
                  <a:pt x="7037" y="1028"/>
                </a:lnTo>
                <a:lnTo>
                  <a:pt x="7037" y="1701"/>
                </a:lnTo>
                <a:lnTo>
                  <a:pt x="6976" y="1701"/>
                </a:lnTo>
                <a:lnTo>
                  <a:pt x="6976" y="2692"/>
                </a:lnTo>
                <a:lnTo>
                  <a:pt x="6976" y="2766"/>
                </a:lnTo>
                <a:lnTo>
                  <a:pt x="6976" y="3317"/>
                </a:lnTo>
                <a:lnTo>
                  <a:pt x="6866" y="3317"/>
                </a:lnTo>
                <a:lnTo>
                  <a:pt x="6866" y="2974"/>
                </a:lnTo>
                <a:lnTo>
                  <a:pt x="6658" y="2974"/>
                </a:lnTo>
                <a:lnTo>
                  <a:pt x="6658" y="2876"/>
                </a:lnTo>
                <a:lnTo>
                  <a:pt x="6780" y="2876"/>
                </a:lnTo>
                <a:lnTo>
                  <a:pt x="6780" y="2815"/>
                </a:lnTo>
                <a:lnTo>
                  <a:pt x="6658" y="2815"/>
                </a:lnTo>
                <a:lnTo>
                  <a:pt x="6658" y="2705"/>
                </a:lnTo>
                <a:lnTo>
                  <a:pt x="6780" y="2705"/>
                </a:lnTo>
                <a:lnTo>
                  <a:pt x="6780" y="2656"/>
                </a:lnTo>
                <a:lnTo>
                  <a:pt x="6658" y="2656"/>
                </a:lnTo>
                <a:lnTo>
                  <a:pt x="6658" y="2546"/>
                </a:lnTo>
                <a:lnTo>
                  <a:pt x="6780" y="2546"/>
                </a:lnTo>
                <a:lnTo>
                  <a:pt x="6780" y="2484"/>
                </a:lnTo>
                <a:lnTo>
                  <a:pt x="6658" y="2484"/>
                </a:lnTo>
                <a:lnTo>
                  <a:pt x="6658" y="2374"/>
                </a:lnTo>
                <a:lnTo>
                  <a:pt x="6780" y="2374"/>
                </a:lnTo>
                <a:lnTo>
                  <a:pt x="6780" y="2325"/>
                </a:lnTo>
                <a:lnTo>
                  <a:pt x="6658" y="2325"/>
                </a:lnTo>
                <a:lnTo>
                  <a:pt x="6658" y="2215"/>
                </a:lnTo>
                <a:lnTo>
                  <a:pt x="6780" y="2215"/>
                </a:lnTo>
                <a:lnTo>
                  <a:pt x="6780" y="2154"/>
                </a:lnTo>
                <a:lnTo>
                  <a:pt x="6658" y="2154"/>
                </a:lnTo>
                <a:lnTo>
                  <a:pt x="6658" y="2044"/>
                </a:lnTo>
                <a:lnTo>
                  <a:pt x="6780" y="2044"/>
                </a:lnTo>
                <a:lnTo>
                  <a:pt x="6780" y="1995"/>
                </a:lnTo>
                <a:lnTo>
                  <a:pt x="6658" y="1995"/>
                </a:lnTo>
                <a:lnTo>
                  <a:pt x="6658" y="1885"/>
                </a:lnTo>
                <a:lnTo>
                  <a:pt x="6780" y="1885"/>
                </a:lnTo>
                <a:lnTo>
                  <a:pt x="6780" y="1824"/>
                </a:lnTo>
                <a:lnTo>
                  <a:pt x="6658" y="1824"/>
                </a:lnTo>
                <a:lnTo>
                  <a:pt x="6658" y="1713"/>
                </a:lnTo>
                <a:lnTo>
                  <a:pt x="6780" y="1713"/>
                </a:lnTo>
                <a:lnTo>
                  <a:pt x="6780" y="1664"/>
                </a:lnTo>
                <a:lnTo>
                  <a:pt x="6658" y="1664"/>
                </a:lnTo>
                <a:lnTo>
                  <a:pt x="6658" y="1554"/>
                </a:lnTo>
                <a:lnTo>
                  <a:pt x="6780" y="1554"/>
                </a:lnTo>
                <a:lnTo>
                  <a:pt x="6780" y="1493"/>
                </a:lnTo>
                <a:lnTo>
                  <a:pt x="6658" y="1493"/>
                </a:lnTo>
                <a:lnTo>
                  <a:pt x="6658" y="1383"/>
                </a:lnTo>
                <a:lnTo>
                  <a:pt x="6780" y="1383"/>
                </a:lnTo>
                <a:lnTo>
                  <a:pt x="6780" y="1334"/>
                </a:lnTo>
                <a:lnTo>
                  <a:pt x="6658" y="1334"/>
                </a:lnTo>
                <a:lnTo>
                  <a:pt x="6658" y="1163"/>
                </a:lnTo>
                <a:lnTo>
                  <a:pt x="6621" y="1163"/>
                </a:lnTo>
                <a:lnTo>
                  <a:pt x="6621" y="1334"/>
                </a:lnTo>
                <a:lnTo>
                  <a:pt x="6389" y="1334"/>
                </a:lnTo>
                <a:lnTo>
                  <a:pt x="6389" y="1065"/>
                </a:lnTo>
                <a:lnTo>
                  <a:pt x="6217" y="1065"/>
                </a:lnTo>
                <a:lnTo>
                  <a:pt x="6217" y="1334"/>
                </a:lnTo>
                <a:lnTo>
                  <a:pt x="5985" y="1334"/>
                </a:lnTo>
                <a:lnTo>
                  <a:pt x="5985" y="1163"/>
                </a:lnTo>
                <a:lnTo>
                  <a:pt x="5948" y="1163"/>
                </a:lnTo>
                <a:lnTo>
                  <a:pt x="5948" y="1334"/>
                </a:lnTo>
                <a:lnTo>
                  <a:pt x="5850" y="1334"/>
                </a:lnTo>
                <a:lnTo>
                  <a:pt x="5850" y="1383"/>
                </a:lnTo>
                <a:lnTo>
                  <a:pt x="5948" y="1383"/>
                </a:lnTo>
                <a:lnTo>
                  <a:pt x="5948" y="1493"/>
                </a:lnTo>
                <a:lnTo>
                  <a:pt x="5850" y="1493"/>
                </a:lnTo>
                <a:lnTo>
                  <a:pt x="5850" y="1554"/>
                </a:lnTo>
                <a:lnTo>
                  <a:pt x="5948" y="1554"/>
                </a:lnTo>
                <a:lnTo>
                  <a:pt x="5948" y="1664"/>
                </a:lnTo>
                <a:lnTo>
                  <a:pt x="5850" y="1664"/>
                </a:lnTo>
                <a:lnTo>
                  <a:pt x="5850" y="1713"/>
                </a:lnTo>
                <a:lnTo>
                  <a:pt x="5948" y="1713"/>
                </a:lnTo>
                <a:lnTo>
                  <a:pt x="5948" y="1824"/>
                </a:lnTo>
                <a:lnTo>
                  <a:pt x="5850" y="1824"/>
                </a:lnTo>
                <a:lnTo>
                  <a:pt x="5850" y="1885"/>
                </a:lnTo>
                <a:lnTo>
                  <a:pt x="5948" y="1885"/>
                </a:lnTo>
                <a:lnTo>
                  <a:pt x="5948" y="1995"/>
                </a:lnTo>
                <a:lnTo>
                  <a:pt x="5850" y="1995"/>
                </a:lnTo>
                <a:lnTo>
                  <a:pt x="5850" y="2044"/>
                </a:lnTo>
                <a:lnTo>
                  <a:pt x="5948" y="2044"/>
                </a:lnTo>
                <a:lnTo>
                  <a:pt x="5948" y="2154"/>
                </a:lnTo>
                <a:lnTo>
                  <a:pt x="5850" y="2154"/>
                </a:lnTo>
                <a:lnTo>
                  <a:pt x="5850" y="2215"/>
                </a:lnTo>
                <a:lnTo>
                  <a:pt x="5948" y="2215"/>
                </a:lnTo>
                <a:lnTo>
                  <a:pt x="5948" y="2325"/>
                </a:lnTo>
                <a:lnTo>
                  <a:pt x="5850" y="2325"/>
                </a:lnTo>
                <a:lnTo>
                  <a:pt x="5850" y="2374"/>
                </a:lnTo>
                <a:lnTo>
                  <a:pt x="5948" y="2374"/>
                </a:lnTo>
                <a:lnTo>
                  <a:pt x="5948" y="2484"/>
                </a:lnTo>
                <a:lnTo>
                  <a:pt x="5850" y="2484"/>
                </a:lnTo>
                <a:lnTo>
                  <a:pt x="5850" y="2546"/>
                </a:lnTo>
                <a:lnTo>
                  <a:pt x="5948" y="2546"/>
                </a:lnTo>
                <a:lnTo>
                  <a:pt x="5948" y="2656"/>
                </a:lnTo>
                <a:lnTo>
                  <a:pt x="5850" y="2656"/>
                </a:lnTo>
                <a:lnTo>
                  <a:pt x="5850" y="2705"/>
                </a:lnTo>
                <a:lnTo>
                  <a:pt x="5948" y="2705"/>
                </a:lnTo>
                <a:lnTo>
                  <a:pt x="5948" y="2815"/>
                </a:lnTo>
                <a:lnTo>
                  <a:pt x="5850" y="2815"/>
                </a:lnTo>
                <a:lnTo>
                  <a:pt x="5850" y="2876"/>
                </a:lnTo>
                <a:lnTo>
                  <a:pt x="5948" y="2876"/>
                </a:lnTo>
                <a:lnTo>
                  <a:pt x="5948" y="2974"/>
                </a:lnTo>
                <a:lnTo>
                  <a:pt x="5740" y="2974"/>
                </a:lnTo>
                <a:lnTo>
                  <a:pt x="5740" y="3329"/>
                </a:lnTo>
                <a:lnTo>
                  <a:pt x="5569" y="3243"/>
                </a:lnTo>
                <a:lnTo>
                  <a:pt x="5373" y="3341"/>
                </a:lnTo>
                <a:lnTo>
                  <a:pt x="5373" y="3341"/>
                </a:lnTo>
                <a:lnTo>
                  <a:pt x="5312" y="3341"/>
                </a:lnTo>
                <a:lnTo>
                  <a:pt x="5312" y="3207"/>
                </a:lnTo>
                <a:lnTo>
                  <a:pt x="5373" y="3207"/>
                </a:lnTo>
                <a:lnTo>
                  <a:pt x="5373" y="3182"/>
                </a:lnTo>
                <a:lnTo>
                  <a:pt x="5312" y="3182"/>
                </a:lnTo>
                <a:lnTo>
                  <a:pt x="5312" y="3047"/>
                </a:lnTo>
                <a:lnTo>
                  <a:pt x="5373" y="3047"/>
                </a:lnTo>
                <a:lnTo>
                  <a:pt x="5373" y="3023"/>
                </a:lnTo>
                <a:lnTo>
                  <a:pt x="5312" y="3023"/>
                </a:lnTo>
                <a:lnTo>
                  <a:pt x="5312" y="2901"/>
                </a:lnTo>
                <a:lnTo>
                  <a:pt x="5275" y="2901"/>
                </a:lnTo>
                <a:lnTo>
                  <a:pt x="5275" y="3023"/>
                </a:lnTo>
                <a:lnTo>
                  <a:pt x="5189" y="3023"/>
                </a:lnTo>
                <a:lnTo>
                  <a:pt x="5189" y="2962"/>
                </a:lnTo>
                <a:lnTo>
                  <a:pt x="5165" y="2962"/>
                </a:lnTo>
                <a:lnTo>
                  <a:pt x="5165" y="2876"/>
                </a:lnTo>
                <a:lnTo>
                  <a:pt x="5238" y="2876"/>
                </a:lnTo>
                <a:lnTo>
                  <a:pt x="5238" y="3023"/>
                </a:lnTo>
                <a:lnTo>
                  <a:pt x="5275" y="3023"/>
                </a:lnTo>
                <a:lnTo>
                  <a:pt x="5275" y="2876"/>
                </a:lnTo>
                <a:lnTo>
                  <a:pt x="5336" y="2876"/>
                </a:lnTo>
                <a:lnTo>
                  <a:pt x="5336" y="2839"/>
                </a:lnTo>
                <a:lnTo>
                  <a:pt x="5275" y="2839"/>
                </a:lnTo>
                <a:lnTo>
                  <a:pt x="5275" y="2705"/>
                </a:lnTo>
                <a:lnTo>
                  <a:pt x="5336" y="2705"/>
                </a:lnTo>
                <a:lnTo>
                  <a:pt x="5336" y="2680"/>
                </a:lnTo>
                <a:lnTo>
                  <a:pt x="5275" y="2680"/>
                </a:lnTo>
                <a:lnTo>
                  <a:pt x="5275" y="2546"/>
                </a:lnTo>
                <a:lnTo>
                  <a:pt x="5336" y="2546"/>
                </a:lnTo>
                <a:lnTo>
                  <a:pt x="5336" y="2509"/>
                </a:lnTo>
                <a:lnTo>
                  <a:pt x="5275" y="2509"/>
                </a:lnTo>
                <a:lnTo>
                  <a:pt x="5275" y="2374"/>
                </a:lnTo>
                <a:lnTo>
                  <a:pt x="5336" y="2374"/>
                </a:lnTo>
                <a:lnTo>
                  <a:pt x="5336" y="2350"/>
                </a:lnTo>
                <a:lnTo>
                  <a:pt x="5275" y="2350"/>
                </a:lnTo>
                <a:lnTo>
                  <a:pt x="5275" y="2240"/>
                </a:lnTo>
                <a:lnTo>
                  <a:pt x="5324" y="2240"/>
                </a:lnTo>
                <a:lnTo>
                  <a:pt x="5324" y="2203"/>
                </a:lnTo>
                <a:lnTo>
                  <a:pt x="5275" y="2203"/>
                </a:lnTo>
                <a:lnTo>
                  <a:pt x="5275" y="2081"/>
                </a:lnTo>
                <a:lnTo>
                  <a:pt x="5324" y="2081"/>
                </a:lnTo>
                <a:lnTo>
                  <a:pt x="5324" y="2044"/>
                </a:lnTo>
                <a:lnTo>
                  <a:pt x="5275" y="2044"/>
                </a:lnTo>
                <a:lnTo>
                  <a:pt x="5275" y="1909"/>
                </a:lnTo>
                <a:lnTo>
                  <a:pt x="5324" y="1909"/>
                </a:lnTo>
                <a:lnTo>
                  <a:pt x="5324" y="1885"/>
                </a:lnTo>
                <a:lnTo>
                  <a:pt x="5275" y="1885"/>
                </a:lnTo>
                <a:lnTo>
                  <a:pt x="5275" y="1750"/>
                </a:lnTo>
                <a:lnTo>
                  <a:pt x="5324" y="1750"/>
                </a:lnTo>
                <a:lnTo>
                  <a:pt x="5324" y="1713"/>
                </a:lnTo>
                <a:lnTo>
                  <a:pt x="5275" y="1713"/>
                </a:lnTo>
                <a:lnTo>
                  <a:pt x="5275" y="1456"/>
                </a:lnTo>
                <a:lnTo>
                  <a:pt x="5238" y="1456"/>
                </a:lnTo>
                <a:lnTo>
                  <a:pt x="5238" y="1713"/>
                </a:lnTo>
                <a:lnTo>
                  <a:pt x="5165" y="1713"/>
                </a:lnTo>
                <a:lnTo>
                  <a:pt x="5165" y="1542"/>
                </a:lnTo>
                <a:lnTo>
                  <a:pt x="5128" y="1542"/>
                </a:lnTo>
                <a:lnTo>
                  <a:pt x="5128" y="1713"/>
                </a:lnTo>
                <a:lnTo>
                  <a:pt x="4957" y="1713"/>
                </a:lnTo>
                <a:lnTo>
                  <a:pt x="4957" y="1456"/>
                </a:lnTo>
                <a:lnTo>
                  <a:pt x="4932" y="1456"/>
                </a:lnTo>
                <a:lnTo>
                  <a:pt x="4932" y="1713"/>
                </a:lnTo>
                <a:lnTo>
                  <a:pt x="4847" y="1713"/>
                </a:lnTo>
                <a:lnTo>
                  <a:pt x="4847" y="1542"/>
                </a:lnTo>
                <a:lnTo>
                  <a:pt x="4810" y="1542"/>
                </a:lnTo>
                <a:lnTo>
                  <a:pt x="4810" y="1713"/>
                </a:lnTo>
                <a:lnTo>
                  <a:pt x="4638" y="1713"/>
                </a:lnTo>
                <a:lnTo>
                  <a:pt x="4638" y="1456"/>
                </a:lnTo>
                <a:lnTo>
                  <a:pt x="4614" y="1456"/>
                </a:lnTo>
                <a:lnTo>
                  <a:pt x="4614" y="1713"/>
                </a:lnTo>
                <a:lnTo>
                  <a:pt x="4528" y="1713"/>
                </a:lnTo>
                <a:lnTo>
                  <a:pt x="4528" y="1701"/>
                </a:lnTo>
                <a:lnTo>
                  <a:pt x="4492" y="1701"/>
                </a:lnTo>
                <a:lnTo>
                  <a:pt x="4492" y="1713"/>
                </a:lnTo>
                <a:lnTo>
                  <a:pt x="4455" y="1713"/>
                </a:lnTo>
                <a:lnTo>
                  <a:pt x="4455" y="1750"/>
                </a:lnTo>
                <a:lnTo>
                  <a:pt x="4492" y="1750"/>
                </a:lnTo>
                <a:lnTo>
                  <a:pt x="4492" y="1885"/>
                </a:lnTo>
                <a:lnTo>
                  <a:pt x="4455" y="1885"/>
                </a:lnTo>
                <a:lnTo>
                  <a:pt x="4455" y="1909"/>
                </a:lnTo>
                <a:lnTo>
                  <a:pt x="4492" y="1909"/>
                </a:lnTo>
                <a:lnTo>
                  <a:pt x="4492" y="2044"/>
                </a:lnTo>
                <a:lnTo>
                  <a:pt x="4455" y="2044"/>
                </a:lnTo>
                <a:lnTo>
                  <a:pt x="4455" y="2081"/>
                </a:lnTo>
                <a:lnTo>
                  <a:pt x="4492" y="2081"/>
                </a:lnTo>
                <a:lnTo>
                  <a:pt x="4492" y="2203"/>
                </a:lnTo>
                <a:lnTo>
                  <a:pt x="4455" y="2203"/>
                </a:lnTo>
                <a:lnTo>
                  <a:pt x="4455" y="2240"/>
                </a:lnTo>
                <a:lnTo>
                  <a:pt x="4492" y="2240"/>
                </a:lnTo>
                <a:lnTo>
                  <a:pt x="4492" y="2350"/>
                </a:lnTo>
                <a:lnTo>
                  <a:pt x="4455" y="2350"/>
                </a:lnTo>
                <a:lnTo>
                  <a:pt x="4455" y="2374"/>
                </a:lnTo>
                <a:lnTo>
                  <a:pt x="4492" y="2374"/>
                </a:lnTo>
                <a:lnTo>
                  <a:pt x="4492" y="2509"/>
                </a:lnTo>
                <a:lnTo>
                  <a:pt x="4455" y="2509"/>
                </a:lnTo>
                <a:lnTo>
                  <a:pt x="4455" y="2546"/>
                </a:lnTo>
                <a:lnTo>
                  <a:pt x="4492" y="2546"/>
                </a:lnTo>
                <a:lnTo>
                  <a:pt x="4492" y="2680"/>
                </a:lnTo>
                <a:lnTo>
                  <a:pt x="4455" y="2680"/>
                </a:lnTo>
                <a:lnTo>
                  <a:pt x="4455" y="2705"/>
                </a:lnTo>
                <a:lnTo>
                  <a:pt x="4492" y="2705"/>
                </a:lnTo>
                <a:lnTo>
                  <a:pt x="4492" y="2839"/>
                </a:lnTo>
                <a:lnTo>
                  <a:pt x="4455" y="2839"/>
                </a:lnTo>
                <a:lnTo>
                  <a:pt x="4455" y="2876"/>
                </a:lnTo>
                <a:lnTo>
                  <a:pt x="4492" y="2876"/>
                </a:lnTo>
                <a:lnTo>
                  <a:pt x="4492" y="3023"/>
                </a:lnTo>
                <a:lnTo>
                  <a:pt x="4528" y="3023"/>
                </a:lnTo>
                <a:lnTo>
                  <a:pt x="4528" y="2876"/>
                </a:lnTo>
                <a:lnTo>
                  <a:pt x="4614" y="2876"/>
                </a:lnTo>
                <a:lnTo>
                  <a:pt x="4614" y="2901"/>
                </a:lnTo>
                <a:lnTo>
                  <a:pt x="4590" y="2901"/>
                </a:lnTo>
                <a:lnTo>
                  <a:pt x="4590" y="3023"/>
                </a:lnTo>
                <a:lnTo>
                  <a:pt x="4418" y="3023"/>
                </a:lnTo>
                <a:lnTo>
                  <a:pt x="4418" y="3047"/>
                </a:lnTo>
                <a:lnTo>
                  <a:pt x="4590" y="3047"/>
                </a:lnTo>
                <a:lnTo>
                  <a:pt x="4590" y="3182"/>
                </a:lnTo>
                <a:lnTo>
                  <a:pt x="4504" y="3182"/>
                </a:lnTo>
                <a:lnTo>
                  <a:pt x="4504" y="3060"/>
                </a:lnTo>
                <a:lnTo>
                  <a:pt x="4467" y="3060"/>
                </a:lnTo>
                <a:lnTo>
                  <a:pt x="4467" y="3182"/>
                </a:lnTo>
                <a:lnTo>
                  <a:pt x="4418" y="3182"/>
                </a:lnTo>
                <a:lnTo>
                  <a:pt x="4418" y="3207"/>
                </a:lnTo>
                <a:lnTo>
                  <a:pt x="4467" y="3207"/>
                </a:lnTo>
                <a:lnTo>
                  <a:pt x="4467" y="3341"/>
                </a:lnTo>
                <a:lnTo>
                  <a:pt x="4418" y="3341"/>
                </a:lnTo>
                <a:lnTo>
                  <a:pt x="4418" y="3378"/>
                </a:lnTo>
                <a:lnTo>
                  <a:pt x="4467" y="3378"/>
                </a:lnTo>
                <a:lnTo>
                  <a:pt x="4467" y="3464"/>
                </a:lnTo>
                <a:lnTo>
                  <a:pt x="4455" y="3464"/>
                </a:lnTo>
                <a:lnTo>
                  <a:pt x="4455" y="3500"/>
                </a:lnTo>
                <a:lnTo>
                  <a:pt x="4467" y="3500"/>
                </a:lnTo>
                <a:lnTo>
                  <a:pt x="4467" y="3525"/>
                </a:lnTo>
                <a:lnTo>
                  <a:pt x="4418" y="3525"/>
                </a:lnTo>
                <a:lnTo>
                  <a:pt x="4418" y="3549"/>
                </a:lnTo>
                <a:lnTo>
                  <a:pt x="4467" y="3549"/>
                </a:lnTo>
                <a:lnTo>
                  <a:pt x="4467" y="3549"/>
                </a:lnTo>
                <a:lnTo>
                  <a:pt x="4455" y="3549"/>
                </a:lnTo>
                <a:lnTo>
                  <a:pt x="4455" y="3586"/>
                </a:lnTo>
                <a:lnTo>
                  <a:pt x="4467" y="3586"/>
                </a:lnTo>
                <a:lnTo>
                  <a:pt x="4467" y="3659"/>
                </a:lnTo>
                <a:lnTo>
                  <a:pt x="4467" y="3659"/>
                </a:lnTo>
                <a:lnTo>
                  <a:pt x="4467" y="3684"/>
                </a:lnTo>
                <a:lnTo>
                  <a:pt x="4418" y="3684"/>
                </a:lnTo>
                <a:lnTo>
                  <a:pt x="4418" y="3708"/>
                </a:lnTo>
                <a:lnTo>
                  <a:pt x="4467" y="3708"/>
                </a:lnTo>
                <a:lnTo>
                  <a:pt x="4467" y="3745"/>
                </a:lnTo>
                <a:lnTo>
                  <a:pt x="4467" y="3745"/>
                </a:lnTo>
                <a:lnTo>
                  <a:pt x="4467" y="3782"/>
                </a:lnTo>
                <a:lnTo>
                  <a:pt x="4467" y="3782"/>
                </a:lnTo>
                <a:lnTo>
                  <a:pt x="4467" y="3818"/>
                </a:lnTo>
                <a:lnTo>
                  <a:pt x="4320" y="3818"/>
                </a:lnTo>
                <a:lnTo>
                  <a:pt x="4320" y="3806"/>
                </a:lnTo>
                <a:lnTo>
                  <a:pt x="4320" y="3721"/>
                </a:lnTo>
                <a:lnTo>
                  <a:pt x="4320" y="3439"/>
                </a:lnTo>
                <a:lnTo>
                  <a:pt x="4320" y="3366"/>
                </a:lnTo>
                <a:lnTo>
                  <a:pt x="4320" y="3072"/>
                </a:lnTo>
                <a:lnTo>
                  <a:pt x="4320" y="2998"/>
                </a:lnTo>
                <a:lnTo>
                  <a:pt x="4320" y="2717"/>
                </a:lnTo>
                <a:lnTo>
                  <a:pt x="4320" y="2705"/>
                </a:lnTo>
                <a:lnTo>
                  <a:pt x="4418" y="2705"/>
                </a:lnTo>
                <a:lnTo>
                  <a:pt x="4418" y="2215"/>
                </a:lnTo>
                <a:lnTo>
                  <a:pt x="4296" y="2215"/>
                </a:lnTo>
                <a:lnTo>
                  <a:pt x="4296" y="2154"/>
                </a:lnTo>
                <a:lnTo>
                  <a:pt x="4369" y="2154"/>
                </a:lnTo>
                <a:lnTo>
                  <a:pt x="4369" y="2117"/>
                </a:lnTo>
                <a:lnTo>
                  <a:pt x="4296" y="2117"/>
                </a:lnTo>
                <a:lnTo>
                  <a:pt x="4296" y="2056"/>
                </a:lnTo>
                <a:lnTo>
                  <a:pt x="4369" y="2056"/>
                </a:lnTo>
                <a:lnTo>
                  <a:pt x="4369" y="2032"/>
                </a:lnTo>
                <a:lnTo>
                  <a:pt x="4296" y="2032"/>
                </a:lnTo>
                <a:lnTo>
                  <a:pt x="4296" y="1970"/>
                </a:lnTo>
                <a:lnTo>
                  <a:pt x="4369" y="1970"/>
                </a:lnTo>
                <a:lnTo>
                  <a:pt x="4369" y="1934"/>
                </a:lnTo>
                <a:lnTo>
                  <a:pt x="4296" y="1934"/>
                </a:lnTo>
                <a:lnTo>
                  <a:pt x="4296" y="1872"/>
                </a:lnTo>
                <a:lnTo>
                  <a:pt x="4369" y="1872"/>
                </a:lnTo>
                <a:lnTo>
                  <a:pt x="4369" y="1836"/>
                </a:lnTo>
                <a:lnTo>
                  <a:pt x="4296" y="1836"/>
                </a:lnTo>
                <a:lnTo>
                  <a:pt x="4296" y="1775"/>
                </a:lnTo>
                <a:lnTo>
                  <a:pt x="4369" y="1775"/>
                </a:lnTo>
                <a:lnTo>
                  <a:pt x="4369" y="1738"/>
                </a:lnTo>
                <a:lnTo>
                  <a:pt x="4296" y="1738"/>
                </a:lnTo>
                <a:lnTo>
                  <a:pt x="4296" y="1677"/>
                </a:lnTo>
                <a:lnTo>
                  <a:pt x="4369" y="1677"/>
                </a:lnTo>
                <a:lnTo>
                  <a:pt x="4369" y="1640"/>
                </a:lnTo>
                <a:lnTo>
                  <a:pt x="4296" y="1640"/>
                </a:lnTo>
                <a:lnTo>
                  <a:pt x="4296" y="1579"/>
                </a:lnTo>
                <a:lnTo>
                  <a:pt x="4369" y="1579"/>
                </a:lnTo>
                <a:lnTo>
                  <a:pt x="4369" y="1554"/>
                </a:lnTo>
                <a:lnTo>
                  <a:pt x="4296" y="1554"/>
                </a:lnTo>
                <a:lnTo>
                  <a:pt x="4296" y="1481"/>
                </a:lnTo>
                <a:lnTo>
                  <a:pt x="4369" y="1481"/>
                </a:lnTo>
                <a:lnTo>
                  <a:pt x="4369" y="1456"/>
                </a:lnTo>
                <a:lnTo>
                  <a:pt x="4296" y="1456"/>
                </a:lnTo>
                <a:lnTo>
                  <a:pt x="4296" y="1395"/>
                </a:lnTo>
                <a:lnTo>
                  <a:pt x="4369" y="1395"/>
                </a:lnTo>
                <a:lnTo>
                  <a:pt x="4369" y="1358"/>
                </a:lnTo>
                <a:lnTo>
                  <a:pt x="4296" y="1358"/>
                </a:lnTo>
                <a:lnTo>
                  <a:pt x="4296" y="1297"/>
                </a:lnTo>
                <a:lnTo>
                  <a:pt x="4369" y="1297"/>
                </a:lnTo>
                <a:lnTo>
                  <a:pt x="4369" y="1261"/>
                </a:lnTo>
                <a:lnTo>
                  <a:pt x="4296" y="1261"/>
                </a:lnTo>
                <a:lnTo>
                  <a:pt x="4296" y="1163"/>
                </a:lnTo>
                <a:lnTo>
                  <a:pt x="4271" y="1163"/>
                </a:lnTo>
                <a:lnTo>
                  <a:pt x="4271" y="1261"/>
                </a:lnTo>
                <a:lnTo>
                  <a:pt x="4137" y="1261"/>
                </a:lnTo>
                <a:lnTo>
                  <a:pt x="4137" y="1114"/>
                </a:lnTo>
                <a:lnTo>
                  <a:pt x="4039" y="1114"/>
                </a:lnTo>
                <a:lnTo>
                  <a:pt x="4039" y="1261"/>
                </a:lnTo>
                <a:lnTo>
                  <a:pt x="3904" y="1261"/>
                </a:lnTo>
                <a:lnTo>
                  <a:pt x="3904" y="1163"/>
                </a:lnTo>
                <a:lnTo>
                  <a:pt x="3892" y="1163"/>
                </a:lnTo>
                <a:lnTo>
                  <a:pt x="3892" y="1261"/>
                </a:lnTo>
                <a:lnTo>
                  <a:pt x="3831" y="1261"/>
                </a:lnTo>
                <a:lnTo>
                  <a:pt x="3831" y="1297"/>
                </a:lnTo>
                <a:lnTo>
                  <a:pt x="3892" y="1297"/>
                </a:lnTo>
                <a:lnTo>
                  <a:pt x="3892" y="1358"/>
                </a:lnTo>
                <a:lnTo>
                  <a:pt x="3831" y="1358"/>
                </a:lnTo>
                <a:lnTo>
                  <a:pt x="3831" y="1395"/>
                </a:lnTo>
                <a:lnTo>
                  <a:pt x="3892" y="1395"/>
                </a:lnTo>
                <a:lnTo>
                  <a:pt x="3892" y="1456"/>
                </a:lnTo>
                <a:lnTo>
                  <a:pt x="3831" y="1456"/>
                </a:lnTo>
                <a:lnTo>
                  <a:pt x="3831" y="1481"/>
                </a:lnTo>
                <a:lnTo>
                  <a:pt x="3892" y="1481"/>
                </a:lnTo>
                <a:lnTo>
                  <a:pt x="3892" y="1554"/>
                </a:lnTo>
                <a:lnTo>
                  <a:pt x="3831" y="1554"/>
                </a:lnTo>
                <a:lnTo>
                  <a:pt x="3831" y="1579"/>
                </a:lnTo>
                <a:lnTo>
                  <a:pt x="3892" y="1579"/>
                </a:lnTo>
                <a:lnTo>
                  <a:pt x="3892" y="1640"/>
                </a:lnTo>
                <a:lnTo>
                  <a:pt x="3831" y="1640"/>
                </a:lnTo>
                <a:lnTo>
                  <a:pt x="3831" y="1677"/>
                </a:lnTo>
                <a:lnTo>
                  <a:pt x="3892" y="1677"/>
                </a:lnTo>
                <a:lnTo>
                  <a:pt x="3892" y="1738"/>
                </a:lnTo>
                <a:lnTo>
                  <a:pt x="3831" y="1738"/>
                </a:lnTo>
                <a:lnTo>
                  <a:pt x="3831" y="1775"/>
                </a:lnTo>
                <a:lnTo>
                  <a:pt x="3892" y="1775"/>
                </a:lnTo>
                <a:lnTo>
                  <a:pt x="3892" y="1836"/>
                </a:lnTo>
                <a:lnTo>
                  <a:pt x="3831" y="1836"/>
                </a:lnTo>
                <a:lnTo>
                  <a:pt x="3831" y="1872"/>
                </a:lnTo>
                <a:lnTo>
                  <a:pt x="3892" y="1872"/>
                </a:lnTo>
                <a:lnTo>
                  <a:pt x="3892" y="1934"/>
                </a:lnTo>
                <a:lnTo>
                  <a:pt x="3831" y="1934"/>
                </a:lnTo>
                <a:lnTo>
                  <a:pt x="3831" y="1970"/>
                </a:lnTo>
                <a:lnTo>
                  <a:pt x="3892" y="1970"/>
                </a:lnTo>
                <a:lnTo>
                  <a:pt x="3892" y="2032"/>
                </a:lnTo>
                <a:lnTo>
                  <a:pt x="3831" y="2032"/>
                </a:lnTo>
                <a:lnTo>
                  <a:pt x="3831" y="2056"/>
                </a:lnTo>
                <a:lnTo>
                  <a:pt x="3892" y="2056"/>
                </a:lnTo>
                <a:lnTo>
                  <a:pt x="3892" y="2117"/>
                </a:lnTo>
                <a:lnTo>
                  <a:pt x="3831" y="2117"/>
                </a:lnTo>
                <a:lnTo>
                  <a:pt x="3831" y="2154"/>
                </a:lnTo>
                <a:lnTo>
                  <a:pt x="3892" y="2154"/>
                </a:lnTo>
                <a:lnTo>
                  <a:pt x="3892" y="2215"/>
                </a:lnTo>
                <a:lnTo>
                  <a:pt x="3769" y="2215"/>
                </a:lnTo>
                <a:lnTo>
                  <a:pt x="3769" y="2705"/>
                </a:lnTo>
                <a:lnTo>
                  <a:pt x="3855" y="2705"/>
                </a:lnTo>
                <a:lnTo>
                  <a:pt x="3855" y="3818"/>
                </a:lnTo>
                <a:lnTo>
                  <a:pt x="3696" y="3818"/>
                </a:lnTo>
                <a:lnTo>
                  <a:pt x="3696" y="3402"/>
                </a:lnTo>
                <a:lnTo>
                  <a:pt x="3610" y="3402"/>
                </a:lnTo>
                <a:lnTo>
                  <a:pt x="3610" y="3304"/>
                </a:lnTo>
                <a:lnTo>
                  <a:pt x="3696" y="3304"/>
                </a:lnTo>
                <a:lnTo>
                  <a:pt x="3696" y="3280"/>
                </a:lnTo>
                <a:lnTo>
                  <a:pt x="3610" y="3280"/>
                </a:lnTo>
                <a:lnTo>
                  <a:pt x="3610" y="3158"/>
                </a:lnTo>
                <a:lnTo>
                  <a:pt x="3696" y="3158"/>
                </a:lnTo>
                <a:lnTo>
                  <a:pt x="3696" y="3121"/>
                </a:lnTo>
                <a:lnTo>
                  <a:pt x="3610" y="3121"/>
                </a:lnTo>
                <a:lnTo>
                  <a:pt x="3610" y="2998"/>
                </a:lnTo>
                <a:lnTo>
                  <a:pt x="3696" y="2998"/>
                </a:lnTo>
                <a:lnTo>
                  <a:pt x="3696" y="2974"/>
                </a:lnTo>
                <a:lnTo>
                  <a:pt x="3610" y="2974"/>
                </a:lnTo>
                <a:lnTo>
                  <a:pt x="3610" y="2852"/>
                </a:lnTo>
                <a:lnTo>
                  <a:pt x="3696" y="2852"/>
                </a:lnTo>
                <a:lnTo>
                  <a:pt x="3696" y="2815"/>
                </a:lnTo>
                <a:lnTo>
                  <a:pt x="3610" y="2815"/>
                </a:lnTo>
                <a:lnTo>
                  <a:pt x="3610" y="2680"/>
                </a:lnTo>
                <a:lnTo>
                  <a:pt x="3696" y="2680"/>
                </a:lnTo>
                <a:lnTo>
                  <a:pt x="3696" y="2656"/>
                </a:lnTo>
                <a:lnTo>
                  <a:pt x="3610" y="2656"/>
                </a:lnTo>
                <a:lnTo>
                  <a:pt x="3610" y="2509"/>
                </a:lnTo>
                <a:lnTo>
                  <a:pt x="3696" y="2509"/>
                </a:lnTo>
                <a:lnTo>
                  <a:pt x="3696" y="2484"/>
                </a:lnTo>
                <a:lnTo>
                  <a:pt x="3610" y="2484"/>
                </a:lnTo>
                <a:lnTo>
                  <a:pt x="3610" y="2276"/>
                </a:lnTo>
                <a:lnTo>
                  <a:pt x="3561" y="2276"/>
                </a:lnTo>
                <a:lnTo>
                  <a:pt x="3561" y="2484"/>
                </a:lnTo>
                <a:lnTo>
                  <a:pt x="3390" y="2484"/>
                </a:lnTo>
                <a:lnTo>
                  <a:pt x="3390" y="2276"/>
                </a:lnTo>
                <a:lnTo>
                  <a:pt x="3329" y="2276"/>
                </a:lnTo>
                <a:lnTo>
                  <a:pt x="3329" y="2484"/>
                </a:lnTo>
                <a:lnTo>
                  <a:pt x="3158" y="2484"/>
                </a:lnTo>
                <a:lnTo>
                  <a:pt x="3158" y="2276"/>
                </a:lnTo>
                <a:lnTo>
                  <a:pt x="3109" y="2276"/>
                </a:lnTo>
                <a:lnTo>
                  <a:pt x="3109" y="2484"/>
                </a:lnTo>
                <a:lnTo>
                  <a:pt x="2937" y="2484"/>
                </a:lnTo>
                <a:lnTo>
                  <a:pt x="2937" y="2276"/>
                </a:lnTo>
                <a:lnTo>
                  <a:pt x="2876" y="2276"/>
                </a:lnTo>
                <a:lnTo>
                  <a:pt x="2876" y="2607"/>
                </a:lnTo>
                <a:lnTo>
                  <a:pt x="2717" y="2607"/>
                </a:lnTo>
                <a:lnTo>
                  <a:pt x="2717" y="2276"/>
                </a:lnTo>
                <a:lnTo>
                  <a:pt x="2656" y="2276"/>
                </a:lnTo>
                <a:lnTo>
                  <a:pt x="2656" y="2692"/>
                </a:lnTo>
                <a:lnTo>
                  <a:pt x="2484" y="2692"/>
                </a:lnTo>
                <a:lnTo>
                  <a:pt x="2484" y="2276"/>
                </a:lnTo>
                <a:lnTo>
                  <a:pt x="2423" y="2276"/>
                </a:lnTo>
                <a:lnTo>
                  <a:pt x="2423" y="2815"/>
                </a:lnTo>
                <a:lnTo>
                  <a:pt x="2264" y="2815"/>
                </a:lnTo>
                <a:lnTo>
                  <a:pt x="2264" y="2276"/>
                </a:lnTo>
                <a:lnTo>
                  <a:pt x="2203" y="2276"/>
                </a:lnTo>
                <a:lnTo>
                  <a:pt x="2203" y="2815"/>
                </a:lnTo>
                <a:lnTo>
                  <a:pt x="2068" y="2815"/>
                </a:lnTo>
                <a:lnTo>
                  <a:pt x="2068" y="2852"/>
                </a:lnTo>
                <a:lnTo>
                  <a:pt x="2203" y="2852"/>
                </a:lnTo>
                <a:lnTo>
                  <a:pt x="2203" y="2974"/>
                </a:lnTo>
                <a:lnTo>
                  <a:pt x="2068" y="2974"/>
                </a:lnTo>
                <a:lnTo>
                  <a:pt x="2068" y="2998"/>
                </a:lnTo>
                <a:lnTo>
                  <a:pt x="2203" y="2998"/>
                </a:lnTo>
                <a:lnTo>
                  <a:pt x="2203" y="3121"/>
                </a:lnTo>
                <a:lnTo>
                  <a:pt x="2068" y="3121"/>
                </a:lnTo>
                <a:lnTo>
                  <a:pt x="2068" y="3158"/>
                </a:lnTo>
                <a:lnTo>
                  <a:pt x="2203" y="3158"/>
                </a:lnTo>
                <a:lnTo>
                  <a:pt x="2203" y="3280"/>
                </a:lnTo>
                <a:lnTo>
                  <a:pt x="2068" y="3280"/>
                </a:lnTo>
                <a:lnTo>
                  <a:pt x="2068" y="3304"/>
                </a:lnTo>
                <a:lnTo>
                  <a:pt x="2203" y="3304"/>
                </a:lnTo>
                <a:lnTo>
                  <a:pt x="2203" y="3402"/>
                </a:lnTo>
                <a:lnTo>
                  <a:pt x="2068" y="3402"/>
                </a:lnTo>
                <a:lnTo>
                  <a:pt x="2068" y="3818"/>
                </a:lnTo>
                <a:lnTo>
                  <a:pt x="2044" y="3818"/>
                </a:lnTo>
                <a:lnTo>
                  <a:pt x="2044" y="3610"/>
                </a:lnTo>
                <a:lnTo>
                  <a:pt x="2044" y="3549"/>
                </a:lnTo>
                <a:lnTo>
                  <a:pt x="2044" y="3329"/>
                </a:lnTo>
                <a:lnTo>
                  <a:pt x="2044" y="3280"/>
                </a:lnTo>
                <a:lnTo>
                  <a:pt x="2044" y="3060"/>
                </a:lnTo>
                <a:lnTo>
                  <a:pt x="2044" y="2998"/>
                </a:lnTo>
                <a:lnTo>
                  <a:pt x="2044" y="2925"/>
                </a:lnTo>
                <a:lnTo>
                  <a:pt x="1995" y="2925"/>
                </a:lnTo>
                <a:lnTo>
                  <a:pt x="1995" y="2998"/>
                </a:lnTo>
                <a:lnTo>
                  <a:pt x="1762" y="2998"/>
                </a:lnTo>
                <a:lnTo>
                  <a:pt x="1762" y="2925"/>
                </a:lnTo>
                <a:lnTo>
                  <a:pt x="1701" y="2925"/>
                </a:lnTo>
                <a:lnTo>
                  <a:pt x="1701" y="3818"/>
                </a:lnTo>
                <a:lnTo>
                  <a:pt x="1579" y="3818"/>
                </a:lnTo>
                <a:lnTo>
                  <a:pt x="1579" y="3769"/>
                </a:lnTo>
                <a:lnTo>
                  <a:pt x="1640" y="3769"/>
                </a:lnTo>
                <a:lnTo>
                  <a:pt x="1640" y="3745"/>
                </a:lnTo>
                <a:lnTo>
                  <a:pt x="1579" y="3745"/>
                </a:lnTo>
                <a:lnTo>
                  <a:pt x="1579" y="3610"/>
                </a:lnTo>
                <a:lnTo>
                  <a:pt x="1640" y="3610"/>
                </a:lnTo>
                <a:lnTo>
                  <a:pt x="1640" y="3574"/>
                </a:lnTo>
                <a:lnTo>
                  <a:pt x="1579" y="3574"/>
                </a:lnTo>
                <a:lnTo>
                  <a:pt x="1579" y="3439"/>
                </a:lnTo>
                <a:lnTo>
                  <a:pt x="1640" y="3439"/>
                </a:lnTo>
                <a:lnTo>
                  <a:pt x="1640" y="3415"/>
                </a:lnTo>
                <a:lnTo>
                  <a:pt x="1579" y="3415"/>
                </a:lnTo>
                <a:lnTo>
                  <a:pt x="1579" y="3280"/>
                </a:lnTo>
                <a:lnTo>
                  <a:pt x="1640" y="3280"/>
                </a:lnTo>
                <a:lnTo>
                  <a:pt x="1640" y="3243"/>
                </a:lnTo>
                <a:lnTo>
                  <a:pt x="1579" y="3243"/>
                </a:lnTo>
                <a:lnTo>
                  <a:pt x="1579" y="3145"/>
                </a:lnTo>
                <a:lnTo>
                  <a:pt x="1628" y="3145"/>
                </a:lnTo>
                <a:lnTo>
                  <a:pt x="1628" y="3109"/>
                </a:lnTo>
                <a:lnTo>
                  <a:pt x="1579" y="3109"/>
                </a:lnTo>
                <a:lnTo>
                  <a:pt x="1579" y="2974"/>
                </a:lnTo>
                <a:lnTo>
                  <a:pt x="1628" y="2974"/>
                </a:lnTo>
                <a:lnTo>
                  <a:pt x="1628" y="2949"/>
                </a:lnTo>
                <a:lnTo>
                  <a:pt x="1579" y="2949"/>
                </a:lnTo>
                <a:lnTo>
                  <a:pt x="1579" y="2815"/>
                </a:lnTo>
                <a:lnTo>
                  <a:pt x="1628" y="2815"/>
                </a:lnTo>
                <a:lnTo>
                  <a:pt x="1628" y="2778"/>
                </a:lnTo>
                <a:lnTo>
                  <a:pt x="1579" y="2778"/>
                </a:lnTo>
                <a:lnTo>
                  <a:pt x="1579" y="2644"/>
                </a:lnTo>
                <a:lnTo>
                  <a:pt x="1628" y="2644"/>
                </a:lnTo>
                <a:lnTo>
                  <a:pt x="1628" y="2619"/>
                </a:lnTo>
                <a:lnTo>
                  <a:pt x="1579" y="2619"/>
                </a:lnTo>
                <a:lnTo>
                  <a:pt x="1579" y="2350"/>
                </a:lnTo>
                <a:lnTo>
                  <a:pt x="1542" y="2350"/>
                </a:lnTo>
                <a:lnTo>
                  <a:pt x="1542" y="2619"/>
                </a:lnTo>
                <a:lnTo>
                  <a:pt x="1456" y="2619"/>
                </a:lnTo>
                <a:lnTo>
                  <a:pt x="1456" y="2448"/>
                </a:lnTo>
                <a:lnTo>
                  <a:pt x="1432" y="2448"/>
                </a:lnTo>
                <a:lnTo>
                  <a:pt x="1432" y="2619"/>
                </a:lnTo>
                <a:lnTo>
                  <a:pt x="1358" y="2619"/>
                </a:lnTo>
                <a:lnTo>
                  <a:pt x="1358" y="2644"/>
                </a:lnTo>
                <a:lnTo>
                  <a:pt x="1432" y="2644"/>
                </a:lnTo>
                <a:lnTo>
                  <a:pt x="1432" y="2778"/>
                </a:lnTo>
                <a:lnTo>
                  <a:pt x="1358" y="2778"/>
                </a:lnTo>
                <a:lnTo>
                  <a:pt x="1358" y="2815"/>
                </a:lnTo>
                <a:lnTo>
                  <a:pt x="1432" y="2815"/>
                </a:lnTo>
                <a:lnTo>
                  <a:pt x="1432" y="2949"/>
                </a:lnTo>
                <a:lnTo>
                  <a:pt x="1358" y="2949"/>
                </a:lnTo>
                <a:lnTo>
                  <a:pt x="1358" y="2974"/>
                </a:lnTo>
                <a:lnTo>
                  <a:pt x="1432" y="2974"/>
                </a:lnTo>
                <a:lnTo>
                  <a:pt x="1432" y="3109"/>
                </a:lnTo>
                <a:lnTo>
                  <a:pt x="1358" y="3109"/>
                </a:lnTo>
                <a:lnTo>
                  <a:pt x="1358" y="3145"/>
                </a:lnTo>
                <a:lnTo>
                  <a:pt x="1432" y="3145"/>
                </a:lnTo>
                <a:lnTo>
                  <a:pt x="1432" y="3243"/>
                </a:lnTo>
                <a:lnTo>
                  <a:pt x="1358" y="3243"/>
                </a:lnTo>
                <a:lnTo>
                  <a:pt x="1358" y="3280"/>
                </a:lnTo>
                <a:lnTo>
                  <a:pt x="1432" y="3280"/>
                </a:lnTo>
                <a:lnTo>
                  <a:pt x="1432" y="3415"/>
                </a:lnTo>
                <a:lnTo>
                  <a:pt x="1358" y="3415"/>
                </a:lnTo>
                <a:lnTo>
                  <a:pt x="1358" y="3439"/>
                </a:lnTo>
                <a:lnTo>
                  <a:pt x="1432" y="3439"/>
                </a:lnTo>
                <a:lnTo>
                  <a:pt x="1432" y="3574"/>
                </a:lnTo>
                <a:lnTo>
                  <a:pt x="1358" y="3574"/>
                </a:lnTo>
                <a:lnTo>
                  <a:pt x="1358" y="3610"/>
                </a:lnTo>
                <a:lnTo>
                  <a:pt x="1432" y="3610"/>
                </a:lnTo>
                <a:lnTo>
                  <a:pt x="1432" y="3745"/>
                </a:lnTo>
                <a:lnTo>
                  <a:pt x="1358" y="3745"/>
                </a:lnTo>
                <a:lnTo>
                  <a:pt x="1358" y="3769"/>
                </a:lnTo>
                <a:lnTo>
                  <a:pt x="1432" y="3769"/>
                </a:lnTo>
                <a:lnTo>
                  <a:pt x="1432" y="3818"/>
                </a:lnTo>
                <a:lnTo>
                  <a:pt x="1138" y="3818"/>
                </a:lnTo>
                <a:lnTo>
                  <a:pt x="1138" y="2766"/>
                </a:lnTo>
                <a:lnTo>
                  <a:pt x="1138" y="2680"/>
                </a:lnTo>
                <a:lnTo>
                  <a:pt x="1138" y="1640"/>
                </a:lnTo>
                <a:lnTo>
                  <a:pt x="1065" y="1640"/>
                </a:lnTo>
                <a:lnTo>
                  <a:pt x="1065" y="930"/>
                </a:lnTo>
                <a:lnTo>
                  <a:pt x="1114" y="930"/>
                </a:lnTo>
                <a:lnTo>
                  <a:pt x="1114" y="844"/>
                </a:lnTo>
                <a:lnTo>
                  <a:pt x="1775" y="844"/>
                </a:lnTo>
                <a:lnTo>
                  <a:pt x="1823" y="844"/>
                </a:lnTo>
                <a:lnTo>
                  <a:pt x="2974" y="844"/>
                </a:lnTo>
                <a:lnTo>
                  <a:pt x="2974" y="808"/>
                </a:lnTo>
                <a:lnTo>
                  <a:pt x="2876" y="771"/>
                </a:lnTo>
                <a:lnTo>
                  <a:pt x="2876" y="771"/>
                </a:lnTo>
                <a:lnTo>
                  <a:pt x="930" y="0"/>
                </a:lnTo>
                <a:lnTo>
                  <a:pt x="281" y="600"/>
                </a:lnTo>
                <a:lnTo>
                  <a:pt x="281" y="587"/>
                </a:lnTo>
                <a:lnTo>
                  <a:pt x="0" y="587"/>
                </a:lnTo>
                <a:lnTo>
                  <a:pt x="0" y="893"/>
                </a:lnTo>
                <a:lnTo>
                  <a:pt x="281" y="893"/>
                </a:lnTo>
                <a:lnTo>
                  <a:pt x="281" y="844"/>
                </a:lnTo>
                <a:lnTo>
                  <a:pt x="771" y="844"/>
                </a:lnTo>
                <a:lnTo>
                  <a:pt x="771" y="930"/>
                </a:lnTo>
                <a:lnTo>
                  <a:pt x="820" y="930"/>
                </a:lnTo>
                <a:lnTo>
                  <a:pt x="820" y="967"/>
                </a:lnTo>
                <a:lnTo>
                  <a:pt x="820" y="1016"/>
                </a:lnTo>
                <a:lnTo>
                  <a:pt x="820" y="1163"/>
                </a:lnTo>
                <a:lnTo>
                  <a:pt x="820" y="1212"/>
                </a:lnTo>
                <a:lnTo>
                  <a:pt x="820" y="1371"/>
                </a:lnTo>
                <a:lnTo>
                  <a:pt x="820" y="1407"/>
                </a:lnTo>
                <a:lnTo>
                  <a:pt x="820" y="1640"/>
                </a:lnTo>
                <a:lnTo>
                  <a:pt x="759" y="1640"/>
                </a:lnTo>
                <a:lnTo>
                  <a:pt x="759" y="2680"/>
                </a:lnTo>
                <a:lnTo>
                  <a:pt x="759" y="2766"/>
                </a:lnTo>
                <a:lnTo>
                  <a:pt x="759" y="3818"/>
                </a:lnTo>
                <a:lnTo>
                  <a:pt x="355" y="3818"/>
                </a:lnTo>
                <a:lnTo>
                  <a:pt x="355" y="3990"/>
                </a:lnTo>
                <a:lnTo>
                  <a:pt x="9534" y="3990"/>
                </a:lnTo>
                <a:lnTo>
                  <a:pt x="9534" y="3818"/>
                </a:lnTo>
                <a:lnTo>
                  <a:pt x="9436" y="3818"/>
                </a:lnTo>
                <a:close/>
                <a:moveTo>
                  <a:pt x="5642" y="918"/>
                </a:moveTo>
                <a:lnTo>
                  <a:pt x="5495" y="918"/>
                </a:lnTo>
                <a:lnTo>
                  <a:pt x="5642" y="857"/>
                </a:lnTo>
                <a:lnTo>
                  <a:pt x="5642" y="918"/>
                </a:lnTo>
                <a:close/>
                <a:moveTo>
                  <a:pt x="5679" y="918"/>
                </a:moveTo>
                <a:lnTo>
                  <a:pt x="5679" y="844"/>
                </a:lnTo>
                <a:lnTo>
                  <a:pt x="5691" y="832"/>
                </a:lnTo>
                <a:lnTo>
                  <a:pt x="5777" y="918"/>
                </a:lnTo>
                <a:lnTo>
                  <a:pt x="5679" y="918"/>
                </a:lnTo>
                <a:close/>
                <a:moveTo>
                  <a:pt x="5789" y="906"/>
                </a:moveTo>
                <a:lnTo>
                  <a:pt x="5716" y="820"/>
                </a:lnTo>
                <a:lnTo>
                  <a:pt x="5789" y="795"/>
                </a:lnTo>
                <a:lnTo>
                  <a:pt x="5789" y="906"/>
                </a:lnTo>
                <a:close/>
                <a:moveTo>
                  <a:pt x="5813" y="808"/>
                </a:moveTo>
                <a:lnTo>
                  <a:pt x="5862" y="857"/>
                </a:lnTo>
                <a:lnTo>
                  <a:pt x="5813" y="893"/>
                </a:lnTo>
                <a:lnTo>
                  <a:pt x="5813" y="808"/>
                </a:lnTo>
                <a:close/>
                <a:moveTo>
                  <a:pt x="5838" y="783"/>
                </a:moveTo>
                <a:lnTo>
                  <a:pt x="5924" y="783"/>
                </a:lnTo>
                <a:lnTo>
                  <a:pt x="5875" y="832"/>
                </a:lnTo>
                <a:lnTo>
                  <a:pt x="5838" y="783"/>
                </a:lnTo>
                <a:close/>
                <a:moveTo>
                  <a:pt x="5826" y="918"/>
                </a:moveTo>
                <a:lnTo>
                  <a:pt x="5875" y="869"/>
                </a:lnTo>
                <a:lnTo>
                  <a:pt x="5924" y="918"/>
                </a:lnTo>
                <a:lnTo>
                  <a:pt x="5826" y="918"/>
                </a:lnTo>
                <a:close/>
                <a:moveTo>
                  <a:pt x="5936" y="893"/>
                </a:moveTo>
                <a:lnTo>
                  <a:pt x="5887" y="857"/>
                </a:lnTo>
                <a:lnTo>
                  <a:pt x="5936" y="808"/>
                </a:lnTo>
                <a:lnTo>
                  <a:pt x="5936" y="893"/>
                </a:lnTo>
                <a:close/>
                <a:moveTo>
                  <a:pt x="6009" y="857"/>
                </a:moveTo>
                <a:lnTo>
                  <a:pt x="5960" y="893"/>
                </a:lnTo>
                <a:lnTo>
                  <a:pt x="5960" y="808"/>
                </a:lnTo>
                <a:lnTo>
                  <a:pt x="6009" y="857"/>
                </a:lnTo>
                <a:close/>
                <a:moveTo>
                  <a:pt x="5973" y="783"/>
                </a:moveTo>
                <a:lnTo>
                  <a:pt x="6070" y="783"/>
                </a:lnTo>
                <a:lnTo>
                  <a:pt x="6021" y="832"/>
                </a:lnTo>
                <a:lnTo>
                  <a:pt x="5973" y="783"/>
                </a:lnTo>
                <a:close/>
                <a:moveTo>
                  <a:pt x="5973" y="918"/>
                </a:moveTo>
                <a:lnTo>
                  <a:pt x="6021" y="869"/>
                </a:lnTo>
                <a:lnTo>
                  <a:pt x="6070" y="918"/>
                </a:lnTo>
                <a:lnTo>
                  <a:pt x="5973" y="918"/>
                </a:lnTo>
                <a:close/>
                <a:moveTo>
                  <a:pt x="6083" y="893"/>
                </a:moveTo>
                <a:lnTo>
                  <a:pt x="6034" y="857"/>
                </a:lnTo>
                <a:lnTo>
                  <a:pt x="6083" y="808"/>
                </a:lnTo>
                <a:lnTo>
                  <a:pt x="6083" y="893"/>
                </a:lnTo>
                <a:close/>
                <a:moveTo>
                  <a:pt x="6156" y="857"/>
                </a:moveTo>
                <a:lnTo>
                  <a:pt x="6107" y="893"/>
                </a:lnTo>
                <a:lnTo>
                  <a:pt x="6107" y="808"/>
                </a:lnTo>
                <a:lnTo>
                  <a:pt x="6156" y="857"/>
                </a:lnTo>
                <a:close/>
                <a:moveTo>
                  <a:pt x="6119" y="783"/>
                </a:moveTo>
                <a:lnTo>
                  <a:pt x="6217" y="783"/>
                </a:lnTo>
                <a:lnTo>
                  <a:pt x="6168" y="832"/>
                </a:lnTo>
                <a:lnTo>
                  <a:pt x="6119" y="783"/>
                </a:lnTo>
                <a:close/>
                <a:moveTo>
                  <a:pt x="6119" y="918"/>
                </a:moveTo>
                <a:lnTo>
                  <a:pt x="6168" y="869"/>
                </a:lnTo>
                <a:lnTo>
                  <a:pt x="6217" y="918"/>
                </a:lnTo>
                <a:lnTo>
                  <a:pt x="6119" y="918"/>
                </a:lnTo>
                <a:close/>
                <a:moveTo>
                  <a:pt x="6217" y="893"/>
                </a:moveTo>
                <a:lnTo>
                  <a:pt x="6181" y="857"/>
                </a:lnTo>
                <a:lnTo>
                  <a:pt x="6217" y="808"/>
                </a:lnTo>
                <a:lnTo>
                  <a:pt x="6217" y="893"/>
                </a:lnTo>
                <a:close/>
                <a:moveTo>
                  <a:pt x="6303" y="857"/>
                </a:moveTo>
                <a:lnTo>
                  <a:pt x="6254" y="893"/>
                </a:lnTo>
                <a:lnTo>
                  <a:pt x="6254" y="808"/>
                </a:lnTo>
                <a:lnTo>
                  <a:pt x="6303" y="857"/>
                </a:lnTo>
                <a:close/>
                <a:moveTo>
                  <a:pt x="6266" y="783"/>
                </a:moveTo>
                <a:lnTo>
                  <a:pt x="6352" y="783"/>
                </a:lnTo>
                <a:lnTo>
                  <a:pt x="6315" y="832"/>
                </a:lnTo>
                <a:lnTo>
                  <a:pt x="6266" y="783"/>
                </a:lnTo>
                <a:close/>
                <a:moveTo>
                  <a:pt x="6266" y="918"/>
                </a:moveTo>
                <a:lnTo>
                  <a:pt x="6315" y="869"/>
                </a:lnTo>
                <a:lnTo>
                  <a:pt x="6364" y="918"/>
                </a:lnTo>
                <a:lnTo>
                  <a:pt x="6266" y="918"/>
                </a:lnTo>
                <a:close/>
                <a:moveTo>
                  <a:pt x="6376" y="906"/>
                </a:moveTo>
                <a:lnTo>
                  <a:pt x="6327" y="857"/>
                </a:lnTo>
                <a:lnTo>
                  <a:pt x="6376" y="795"/>
                </a:lnTo>
                <a:lnTo>
                  <a:pt x="6376" y="906"/>
                </a:lnTo>
                <a:close/>
                <a:moveTo>
                  <a:pt x="6450" y="857"/>
                </a:moveTo>
                <a:lnTo>
                  <a:pt x="6401" y="893"/>
                </a:lnTo>
                <a:lnTo>
                  <a:pt x="6401" y="808"/>
                </a:lnTo>
                <a:lnTo>
                  <a:pt x="6450" y="857"/>
                </a:lnTo>
                <a:close/>
                <a:moveTo>
                  <a:pt x="6413" y="783"/>
                </a:moveTo>
                <a:lnTo>
                  <a:pt x="6425" y="783"/>
                </a:lnTo>
                <a:lnTo>
                  <a:pt x="6511" y="783"/>
                </a:lnTo>
                <a:lnTo>
                  <a:pt x="6462" y="832"/>
                </a:lnTo>
                <a:lnTo>
                  <a:pt x="6413" y="783"/>
                </a:lnTo>
                <a:close/>
                <a:moveTo>
                  <a:pt x="6425" y="918"/>
                </a:moveTo>
                <a:lnTo>
                  <a:pt x="6413" y="918"/>
                </a:lnTo>
                <a:lnTo>
                  <a:pt x="6462" y="869"/>
                </a:lnTo>
                <a:lnTo>
                  <a:pt x="6511" y="918"/>
                </a:lnTo>
                <a:lnTo>
                  <a:pt x="6425" y="918"/>
                </a:lnTo>
                <a:close/>
                <a:moveTo>
                  <a:pt x="6523" y="893"/>
                </a:moveTo>
                <a:lnTo>
                  <a:pt x="6474" y="857"/>
                </a:lnTo>
                <a:lnTo>
                  <a:pt x="6523" y="808"/>
                </a:lnTo>
                <a:lnTo>
                  <a:pt x="6523" y="893"/>
                </a:lnTo>
                <a:close/>
                <a:moveTo>
                  <a:pt x="6597" y="857"/>
                </a:moveTo>
                <a:lnTo>
                  <a:pt x="6548" y="893"/>
                </a:lnTo>
                <a:lnTo>
                  <a:pt x="6548" y="808"/>
                </a:lnTo>
                <a:lnTo>
                  <a:pt x="6597" y="857"/>
                </a:lnTo>
                <a:close/>
                <a:moveTo>
                  <a:pt x="6560" y="783"/>
                </a:moveTo>
                <a:lnTo>
                  <a:pt x="6658" y="783"/>
                </a:lnTo>
                <a:lnTo>
                  <a:pt x="6609" y="832"/>
                </a:lnTo>
                <a:lnTo>
                  <a:pt x="6560" y="783"/>
                </a:lnTo>
                <a:close/>
                <a:moveTo>
                  <a:pt x="6560" y="918"/>
                </a:moveTo>
                <a:lnTo>
                  <a:pt x="6609" y="869"/>
                </a:lnTo>
                <a:lnTo>
                  <a:pt x="6658" y="918"/>
                </a:lnTo>
                <a:lnTo>
                  <a:pt x="6560" y="918"/>
                </a:lnTo>
                <a:close/>
                <a:moveTo>
                  <a:pt x="6658" y="893"/>
                </a:moveTo>
                <a:lnTo>
                  <a:pt x="6621" y="857"/>
                </a:lnTo>
                <a:lnTo>
                  <a:pt x="6658" y="808"/>
                </a:lnTo>
                <a:lnTo>
                  <a:pt x="6658" y="893"/>
                </a:lnTo>
                <a:close/>
                <a:moveTo>
                  <a:pt x="6744" y="857"/>
                </a:moveTo>
                <a:lnTo>
                  <a:pt x="6695" y="893"/>
                </a:lnTo>
                <a:lnTo>
                  <a:pt x="6695" y="808"/>
                </a:lnTo>
                <a:lnTo>
                  <a:pt x="6744" y="857"/>
                </a:lnTo>
                <a:close/>
                <a:moveTo>
                  <a:pt x="6707" y="783"/>
                </a:moveTo>
                <a:lnTo>
                  <a:pt x="6793" y="783"/>
                </a:lnTo>
                <a:lnTo>
                  <a:pt x="6756" y="832"/>
                </a:lnTo>
                <a:lnTo>
                  <a:pt x="6707" y="783"/>
                </a:lnTo>
                <a:close/>
                <a:moveTo>
                  <a:pt x="6707" y="918"/>
                </a:moveTo>
                <a:lnTo>
                  <a:pt x="6756" y="869"/>
                </a:lnTo>
                <a:lnTo>
                  <a:pt x="6805" y="918"/>
                </a:lnTo>
                <a:lnTo>
                  <a:pt x="6707" y="918"/>
                </a:lnTo>
                <a:close/>
                <a:moveTo>
                  <a:pt x="6805" y="893"/>
                </a:moveTo>
                <a:lnTo>
                  <a:pt x="6768" y="857"/>
                </a:lnTo>
                <a:lnTo>
                  <a:pt x="6805" y="808"/>
                </a:lnTo>
                <a:lnTo>
                  <a:pt x="6805" y="893"/>
                </a:lnTo>
                <a:close/>
                <a:moveTo>
                  <a:pt x="6878" y="857"/>
                </a:moveTo>
                <a:lnTo>
                  <a:pt x="6842" y="893"/>
                </a:lnTo>
                <a:lnTo>
                  <a:pt x="6842" y="808"/>
                </a:lnTo>
                <a:lnTo>
                  <a:pt x="6878" y="857"/>
                </a:lnTo>
                <a:close/>
                <a:moveTo>
                  <a:pt x="6854" y="783"/>
                </a:moveTo>
                <a:lnTo>
                  <a:pt x="6939" y="783"/>
                </a:lnTo>
                <a:lnTo>
                  <a:pt x="6903" y="832"/>
                </a:lnTo>
                <a:lnTo>
                  <a:pt x="6854" y="783"/>
                </a:lnTo>
                <a:close/>
                <a:moveTo>
                  <a:pt x="6854" y="918"/>
                </a:moveTo>
                <a:lnTo>
                  <a:pt x="6903" y="869"/>
                </a:lnTo>
                <a:lnTo>
                  <a:pt x="6939" y="918"/>
                </a:lnTo>
                <a:lnTo>
                  <a:pt x="6854" y="918"/>
                </a:lnTo>
                <a:close/>
                <a:moveTo>
                  <a:pt x="7001" y="918"/>
                </a:moveTo>
                <a:lnTo>
                  <a:pt x="6976" y="918"/>
                </a:lnTo>
                <a:lnTo>
                  <a:pt x="6915" y="857"/>
                </a:lnTo>
                <a:lnTo>
                  <a:pt x="6976" y="783"/>
                </a:lnTo>
                <a:lnTo>
                  <a:pt x="7001" y="783"/>
                </a:lnTo>
                <a:lnTo>
                  <a:pt x="7001" y="918"/>
                </a:lnTo>
                <a:close/>
                <a:moveTo>
                  <a:pt x="7037" y="306"/>
                </a:moveTo>
                <a:lnTo>
                  <a:pt x="7037" y="343"/>
                </a:lnTo>
                <a:lnTo>
                  <a:pt x="7037" y="673"/>
                </a:lnTo>
                <a:lnTo>
                  <a:pt x="7001" y="673"/>
                </a:lnTo>
                <a:lnTo>
                  <a:pt x="7001" y="759"/>
                </a:lnTo>
                <a:lnTo>
                  <a:pt x="6842" y="759"/>
                </a:lnTo>
                <a:lnTo>
                  <a:pt x="6805" y="759"/>
                </a:lnTo>
                <a:lnTo>
                  <a:pt x="6695" y="759"/>
                </a:lnTo>
                <a:lnTo>
                  <a:pt x="6658" y="759"/>
                </a:lnTo>
                <a:lnTo>
                  <a:pt x="6548" y="759"/>
                </a:lnTo>
                <a:lnTo>
                  <a:pt x="6523" y="759"/>
                </a:lnTo>
                <a:lnTo>
                  <a:pt x="6425" y="759"/>
                </a:lnTo>
                <a:lnTo>
                  <a:pt x="6401" y="759"/>
                </a:lnTo>
                <a:lnTo>
                  <a:pt x="6376" y="759"/>
                </a:lnTo>
                <a:lnTo>
                  <a:pt x="6376" y="759"/>
                </a:lnTo>
                <a:lnTo>
                  <a:pt x="6254" y="759"/>
                </a:lnTo>
                <a:lnTo>
                  <a:pt x="6217" y="759"/>
                </a:lnTo>
                <a:lnTo>
                  <a:pt x="6107" y="759"/>
                </a:lnTo>
                <a:lnTo>
                  <a:pt x="6083" y="759"/>
                </a:lnTo>
                <a:lnTo>
                  <a:pt x="5960" y="759"/>
                </a:lnTo>
                <a:lnTo>
                  <a:pt x="5936" y="759"/>
                </a:lnTo>
                <a:lnTo>
                  <a:pt x="5875" y="759"/>
                </a:lnTo>
                <a:lnTo>
                  <a:pt x="7037" y="257"/>
                </a:lnTo>
                <a:lnTo>
                  <a:pt x="7037" y="306"/>
                </a:lnTo>
                <a:close/>
                <a:moveTo>
                  <a:pt x="5165" y="1750"/>
                </a:moveTo>
                <a:lnTo>
                  <a:pt x="5238" y="1750"/>
                </a:lnTo>
                <a:lnTo>
                  <a:pt x="5238" y="1885"/>
                </a:lnTo>
                <a:lnTo>
                  <a:pt x="5165" y="1885"/>
                </a:lnTo>
                <a:lnTo>
                  <a:pt x="5165" y="1750"/>
                </a:lnTo>
                <a:close/>
                <a:moveTo>
                  <a:pt x="5165" y="1909"/>
                </a:moveTo>
                <a:lnTo>
                  <a:pt x="5238" y="1909"/>
                </a:lnTo>
                <a:lnTo>
                  <a:pt x="5238" y="2044"/>
                </a:lnTo>
                <a:lnTo>
                  <a:pt x="5165" y="2044"/>
                </a:lnTo>
                <a:lnTo>
                  <a:pt x="5165" y="1909"/>
                </a:lnTo>
                <a:close/>
                <a:moveTo>
                  <a:pt x="5165" y="2081"/>
                </a:moveTo>
                <a:lnTo>
                  <a:pt x="5238" y="2081"/>
                </a:lnTo>
                <a:lnTo>
                  <a:pt x="5238" y="2203"/>
                </a:lnTo>
                <a:lnTo>
                  <a:pt x="5165" y="2203"/>
                </a:lnTo>
                <a:lnTo>
                  <a:pt x="5165" y="2081"/>
                </a:lnTo>
                <a:close/>
                <a:moveTo>
                  <a:pt x="5165" y="2240"/>
                </a:moveTo>
                <a:lnTo>
                  <a:pt x="5238" y="2240"/>
                </a:lnTo>
                <a:lnTo>
                  <a:pt x="5238" y="2350"/>
                </a:lnTo>
                <a:lnTo>
                  <a:pt x="5165" y="2350"/>
                </a:lnTo>
                <a:lnTo>
                  <a:pt x="5165" y="2240"/>
                </a:lnTo>
                <a:close/>
                <a:moveTo>
                  <a:pt x="5165" y="2374"/>
                </a:moveTo>
                <a:lnTo>
                  <a:pt x="5238" y="2374"/>
                </a:lnTo>
                <a:lnTo>
                  <a:pt x="5238" y="2509"/>
                </a:lnTo>
                <a:lnTo>
                  <a:pt x="5165" y="2509"/>
                </a:lnTo>
                <a:lnTo>
                  <a:pt x="5165" y="2374"/>
                </a:lnTo>
                <a:close/>
                <a:moveTo>
                  <a:pt x="5165" y="2546"/>
                </a:moveTo>
                <a:lnTo>
                  <a:pt x="5238" y="2546"/>
                </a:lnTo>
                <a:lnTo>
                  <a:pt x="5238" y="2680"/>
                </a:lnTo>
                <a:lnTo>
                  <a:pt x="5165" y="2680"/>
                </a:lnTo>
                <a:lnTo>
                  <a:pt x="5165" y="2546"/>
                </a:lnTo>
                <a:close/>
                <a:moveTo>
                  <a:pt x="5165" y="2705"/>
                </a:moveTo>
                <a:lnTo>
                  <a:pt x="5238" y="2705"/>
                </a:lnTo>
                <a:lnTo>
                  <a:pt x="5238" y="2839"/>
                </a:lnTo>
                <a:lnTo>
                  <a:pt x="5165" y="2839"/>
                </a:lnTo>
                <a:lnTo>
                  <a:pt x="5165" y="2705"/>
                </a:lnTo>
                <a:close/>
                <a:moveTo>
                  <a:pt x="3390" y="2509"/>
                </a:moveTo>
                <a:lnTo>
                  <a:pt x="3561" y="2509"/>
                </a:lnTo>
                <a:lnTo>
                  <a:pt x="3561" y="2656"/>
                </a:lnTo>
                <a:lnTo>
                  <a:pt x="3390" y="2656"/>
                </a:lnTo>
                <a:lnTo>
                  <a:pt x="3390" y="2509"/>
                </a:lnTo>
                <a:close/>
                <a:moveTo>
                  <a:pt x="3390" y="2680"/>
                </a:moveTo>
                <a:lnTo>
                  <a:pt x="3561" y="2680"/>
                </a:lnTo>
                <a:lnTo>
                  <a:pt x="3561" y="2815"/>
                </a:lnTo>
                <a:lnTo>
                  <a:pt x="3390" y="2815"/>
                </a:lnTo>
                <a:lnTo>
                  <a:pt x="3390" y="2680"/>
                </a:lnTo>
                <a:close/>
                <a:moveTo>
                  <a:pt x="3390" y="2852"/>
                </a:moveTo>
                <a:lnTo>
                  <a:pt x="3561" y="2852"/>
                </a:lnTo>
                <a:lnTo>
                  <a:pt x="3561" y="2974"/>
                </a:lnTo>
                <a:lnTo>
                  <a:pt x="3390" y="2974"/>
                </a:lnTo>
                <a:lnTo>
                  <a:pt x="3390" y="2852"/>
                </a:lnTo>
                <a:close/>
                <a:moveTo>
                  <a:pt x="3390" y="2998"/>
                </a:moveTo>
                <a:lnTo>
                  <a:pt x="3561" y="2998"/>
                </a:lnTo>
                <a:lnTo>
                  <a:pt x="3561" y="3121"/>
                </a:lnTo>
                <a:lnTo>
                  <a:pt x="3390" y="3121"/>
                </a:lnTo>
                <a:lnTo>
                  <a:pt x="3390" y="2998"/>
                </a:lnTo>
                <a:close/>
                <a:moveTo>
                  <a:pt x="3390" y="3158"/>
                </a:moveTo>
                <a:lnTo>
                  <a:pt x="3561" y="3158"/>
                </a:lnTo>
                <a:lnTo>
                  <a:pt x="3561" y="3280"/>
                </a:lnTo>
                <a:lnTo>
                  <a:pt x="3390" y="3280"/>
                </a:lnTo>
                <a:lnTo>
                  <a:pt x="3390" y="3158"/>
                </a:lnTo>
                <a:close/>
                <a:moveTo>
                  <a:pt x="3390" y="3304"/>
                </a:moveTo>
                <a:lnTo>
                  <a:pt x="3561" y="3304"/>
                </a:lnTo>
                <a:lnTo>
                  <a:pt x="3561" y="3402"/>
                </a:lnTo>
                <a:lnTo>
                  <a:pt x="3390" y="3402"/>
                </a:lnTo>
                <a:lnTo>
                  <a:pt x="3390" y="3304"/>
                </a:lnTo>
                <a:close/>
                <a:moveTo>
                  <a:pt x="3158" y="2509"/>
                </a:moveTo>
                <a:lnTo>
                  <a:pt x="3329" y="2509"/>
                </a:lnTo>
                <a:lnTo>
                  <a:pt x="3329" y="2656"/>
                </a:lnTo>
                <a:lnTo>
                  <a:pt x="3158" y="2656"/>
                </a:lnTo>
                <a:lnTo>
                  <a:pt x="3158" y="2509"/>
                </a:lnTo>
                <a:close/>
                <a:moveTo>
                  <a:pt x="3158" y="2680"/>
                </a:moveTo>
                <a:lnTo>
                  <a:pt x="3329" y="2680"/>
                </a:lnTo>
                <a:lnTo>
                  <a:pt x="3329" y="2815"/>
                </a:lnTo>
                <a:lnTo>
                  <a:pt x="3158" y="2815"/>
                </a:lnTo>
                <a:lnTo>
                  <a:pt x="3158" y="2680"/>
                </a:lnTo>
                <a:close/>
                <a:moveTo>
                  <a:pt x="3158" y="2852"/>
                </a:moveTo>
                <a:lnTo>
                  <a:pt x="3329" y="2852"/>
                </a:lnTo>
                <a:lnTo>
                  <a:pt x="3329" y="2974"/>
                </a:lnTo>
                <a:lnTo>
                  <a:pt x="3158" y="2974"/>
                </a:lnTo>
                <a:lnTo>
                  <a:pt x="3158" y="2852"/>
                </a:lnTo>
                <a:close/>
                <a:moveTo>
                  <a:pt x="3158" y="2998"/>
                </a:moveTo>
                <a:lnTo>
                  <a:pt x="3329" y="2998"/>
                </a:lnTo>
                <a:lnTo>
                  <a:pt x="3329" y="3121"/>
                </a:lnTo>
                <a:lnTo>
                  <a:pt x="3158" y="3121"/>
                </a:lnTo>
                <a:lnTo>
                  <a:pt x="3158" y="2998"/>
                </a:lnTo>
                <a:close/>
                <a:moveTo>
                  <a:pt x="3158" y="3158"/>
                </a:moveTo>
                <a:lnTo>
                  <a:pt x="3329" y="3158"/>
                </a:lnTo>
                <a:lnTo>
                  <a:pt x="3329" y="3280"/>
                </a:lnTo>
                <a:lnTo>
                  <a:pt x="3158" y="3280"/>
                </a:lnTo>
                <a:lnTo>
                  <a:pt x="3158" y="3158"/>
                </a:lnTo>
                <a:close/>
                <a:moveTo>
                  <a:pt x="3158" y="3304"/>
                </a:moveTo>
                <a:lnTo>
                  <a:pt x="3329" y="3304"/>
                </a:lnTo>
                <a:lnTo>
                  <a:pt x="3329" y="3402"/>
                </a:lnTo>
                <a:lnTo>
                  <a:pt x="3158" y="3402"/>
                </a:lnTo>
                <a:lnTo>
                  <a:pt x="3158" y="3304"/>
                </a:lnTo>
                <a:close/>
                <a:moveTo>
                  <a:pt x="2937" y="2509"/>
                </a:moveTo>
                <a:lnTo>
                  <a:pt x="3109" y="2509"/>
                </a:lnTo>
                <a:lnTo>
                  <a:pt x="3109" y="2656"/>
                </a:lnTo>
                <a:lnTo>
                  <a:pt x="2937" y="2656"/>
                </a:lnTo>
                <a:lnTo>
                  <a:pt x="2937" y="2509"/>
                </a:lnTo>
                <a:close/>
                <a:moveTo>
                  <a:pt x="2937" y="2680"/>
                </a:moveTo>
                <a:lnTo>
                  <a:pt x="3109" y="2680"/>
                </a:lnTo>
                <a:lnTo>
                  <a:pt x="3109" y="2815"/>
                </a:lnTo>
                <a:lnTo>
                  <a:pt x="2937" y="2815"/>
                </a:lnTo>
                <a:lnTo>
                  <a:pt x="2937" y="2680"/>
                </a:lnTo>
                <a:close/>
                <a:moveTo>
                  <a:pt x="2937" y="2852"/>
                </a:moveTo>
                <a:lnTo>
                  <a:pt x="3109" y="2852"/>
                </a:lnTo>
                <a:lnTo>
                  <a:pt x="3109" y="2974"/>
                </a:lnTo>
                <a:lnTo>
                  <a:pt x="2937" y="2974"/>
                </a:lnTo>
                <a:lnTo>
                  <a:pt x="2937" y="2852"/>
                </a:lnTo>
                <a:close/>
                <a:moveTo>
                  <a:pt x="2937" y="2998"/>
                </a:moveTo>
                <a:lnTo>
                  <a:pt x="3109" y="2998"/>
                </a:lnTo>
                <a:lnTo>
                  <a:pt x="3109" y="3121"/>
                </a:lnTo>
                <a:lnTo>
                  <a:pt x="2937" y="3121"/>
                </a:lnTo>
                <a:lnTo>
                  <a:pt x="2937" y="2998"/>
                </a:lnTo>
                <a:close/>
                <a:moveTo>
                  <a:pt x="2937" y="3158"/>
                </a:moveTo>
                <a:lnTo>
                  <a:pt x="3109" y="3158"/>
                </a:lnTo>
                <a:lnTo>
                  <a:pt x="3109" y="3280"/>
                </a:lnTo>
                <a:lnTo>
                  <a:pt x="2937" y="3280"/>
                </a:lnTo>
                <a:lnTo>
                  <a:pt x="2937" y="3158"/>
                </a:lnTo>
                <a:close/>
                <a:moveTo>
                  <a:pt x="2937" y="3304"/>
                </a:moveTo>
                <a:lnTo>
                  <a:pt x="3109" y="3304"/>
                </a:lnTo>
                <a:lnTo>
                  <a:pt x="3109" y="3402"/>
                </a:lnTo>
                <a:lnTo>
                  <a:pt x="2937" y="3402"/>
                </a:lnTo>
                <a:lnTo>
                  <a:pt x="2937" y="3304"/>
                </a:lnTo>
                <a:close/>
                <a:moveTo>
                  <a:pt x="2717" y="2852"/>
                </a:moveTo>
                <a:lnTo>
                  <a:pt x="2876" y="2852"/>
                </a:lnTo>
                <a:lnTo>
                  <a:pt x="2876" y="2974"/>
                </a:lnTo>
                <a:lnTo>
                  <a:pt x="2717" y="2974"/>
                </a:lnTo>
                <a:lnTo>
                  <a:pt x="2717" y="2852"/>
                </a:lnTo>
                <a:close/>
                <a:moveTo>
                  <a:pt x="2717" y="2998"/>
                </a:moveTo>
                <a:lnTo>
                  <a:pt x="2876" y="2998"/>
                </a:lnTo>
                <a:lnTo>
                  <a:pt x="2876" y="3121"/>
                </a:lnTo>
                <a:lnTo>
                  <a:pt x="2717" y="3121"/>
                </a:lnTo>
                <a:lnTo>
                  <a:pt x="2717" y="2998"/>
                </a:lnTo>
                <a:close/>
                <a:moveTo>
                  <a:pt x="2717" y="3158"/>
                </a:moveTo>
                <a:lnTo>
                  <a:pt x="2876" y="3158"/>
                </a:lnTo>
                <a:lnTo>
                  <a:pt x="2876" y="3280"/>
                </a:lnTo>
                <a:lnTo>
                  <a:pt x="2717" y="3280"/>
                </a:lnTo>
                <a:lnTo>
                  <a:pt x="2717" y="3158"/>
                </a:lnTo>
                <a:close/>
                <a:moveTo>
                  <a:pt x="2717" y="3304"/>
                </a:moveTo>
                <a:lnTo>
                  <a:pt x="2876" y="3304"/>
                </a:lnTo>
                <a:lnTo>
                  <a:pt x="2876" y="3402"/>
                </a:lnTo>
                <a:lnTo>
                  <a:pt x="2717" y="3402"/>
                </a:lnTo>
                <a:lnTo>
                  <a:pt x="2717" y="3304"/>
                </a:lnTo>
                <a:close/>
                <a:moveTo>
                  <a:pt x="2484" y="2852"/>
                </a:moveTo>
                <a:lnTo>
                  <a:pt x="2656" y="2852"/>
                </a:lnTo>
                <a:lnTo>
                  <a:pt x="2656" y="2974"/>
                </a:lnTo>
                <a:lnTo>
                  <a:pt x="2484" y="2974"/>
                </a:lnTo>
                <a:lnTo>
                  <a:pt x="2484" y="2852"/>
                </a:lnTo>
                <a:close/>
                <a:moveTo>
                  <a:pt x="2484" y="2998"/>
                </a:moveTo>
                <a:lnTo>
                  <a:pt x="2656" y="2998"/>
                </a:lnTo>
                <a:lnTo>
                  <a:pt x="2656" y="3121"/>
                </a:lnTo>
                <a:lnTo>
                  <a:pt x="2484" y="3121"/>
                </a:lnTo>
                <a:lnTo>
                  <a:pt x="2484" y="2998"/>
                </a:lnTo>
                <a:close/>
                <a:moveTo>
                  <a:pt x="2484" y="3158"/>
                </a:moveTo>
                <a:lnTo>
                  <a:pt x="2656" y="3158"/>
                </a:lnTo>
                <a:lnTo>
                  <a:pt x="2656" y="3280"/>
                </a:lnTo>
                <a:lnTo>
                  <a:pt x="2484" y="3280"/>
                </a:lnTo>
                <a:lnTo>
                  <a:pt x="2484" y="3158"/>
                </a:lnTo>
                <a:close/>
                <a:moveTo>
                  <a:pt x="2484" y="3304"/>
                </a:moveTo>
                <a:lnTo>
                  <a:pt x="2656" y="3304"/>
                </a:lnTo>
                <a:lnTo>
                  <a:pt x="2656" y="3402"/>
                </a:lnTo>
                <a:lnTo>
                  <a:pt x="2484" y="3402"/>
                </a:lnTo>
                <a:lnTo>
                  <a:pt x="2484" y="3304"/>
                </a:lnTo>
                <a:close/>
                <a:moveTo>
                  <a:pt x="2264" y="2852"/>
                </a:moveTo>
                <a:lnTo>
                  <a:pt x="2423" y="2852"/>
                </a:lnTo>
                <a:lnTo>
                  <a:pt x="2423" y="2974"/>
                </a:lnTo>
                <a:lnTo>
                  <a:pt x="2264" y="2974"/>
                </a:lnTo>
                <a:lnTo>
                  <a:pt x="2264" y="2852"/>
                </a:lnTo>
                <a:close/>
                <a:moveTo>
                  <a:pt x="2264" y="2998"/>
                </a:moveTo>
                <a:lnTo>
                  <a:pt x="2423" y="2998"/>
                </a:lnTo>
                <a:lnTo>
                  <a:pt x="2423" y="3121"/>
                </a:lnTo>
                <a:lnTo>
                  <a:pt x="2264" y="3121"/>
                </a:lnTo>
                <a:lnTo>
                  <a:pt x="2264" y="2998"/>
                </a:lnTo>
                <a:close/>
                <a:moveTo>
                  <a:pt x="2264" y="3158"/>
                </a:moveTo>
                <a:lnTo>
                  <a:pt x="2423" y="3158"/>
                </a:lnTo>
                <a:lnTo>
                  <a:pt x="2423" y="3280"/>
                </a:lnTo>
                <a:lnTo>
                  <a:pt x="2264" y="3280"/>
                </a:lnTo>
                <a:lnTo>
                  <a:pt x="2264" y="3158"/>
                </a:lnTo>
                <a:close/>
                <a:moveTo>
                  <a:pt x="2264" y="3304"/>
                </a:moveTo>
                <a:lnTo>
                  <a:pt x="2423" y="3304"/>
                </a:lnTo>
                <a:lnTo>
                  <a:pt x="2423" y="3402"/>
                </a:lnTo>
                <a:lnTo>
                  <a:pt x="2264" y="3402"/>
                </a:lnTo>
                <a:lnTo>
                  <a:pt x="2264" y="3304"/>
                </a:lnTo>
                <a:close/>
                <a:moveTo>
                  <a:pt x="1114" y="808"/>
                </a:moveTo>
                <a:lnTo>
                  <a:pt x="1114" y="673"/>
                </a:lnTo>
                <a:lnTo>
                  <a:pt x="1150" y="673"/>
                </a:lnTo>
                <a:lnTo>
                  <a:pt x="1212" y="734"/>
                </a:lnTo>
                <a:lnTo>
                  <a:pt x="1138" y="808"/>
                </a:lnTo>
                <a:lnTo>
                  <a:pt x="1114" y="808"/>
                </a:lnTo>
                <a:close/>
                <a:moveTo>
                  <a:pt x="1175" y="673"/>
                </a:moveTo>
                <a:lnTo>
                  <a:pt x="1285" y="673"/>
                </a:lnTo>
                <a:lnTo>
                  <a:pt x="1224" y="722"/>
                </a:lnTo>
                <a:lnTo>
                  <a:pt x="1175" y="673"/>
                </a:lnTo>
                <a:close/>
                <a:moveTo>
                  <a:pt x="1175" y="808"/>
                </a:moveTo>
                <a:lnTo>
                  <a:pt x="1224" y="747"/>
                </a:lnTo>
                <a:lnTo>
                  <a:pt x="1285" y="808"/>
                </a:lnTo>
                <a:lnTo>
                  <a:pt x="1175" y="808"/>
                </a:lnTo>
                <a:close/>
                <a:moveTo>
                  <a:pt x="1297" y="783"/>
                </a:moveTo>
                <a:lnTo>
                  <a:pt x="1248" y="734"/>
                </a:lnTo>
                <a:lnTo>
                  <a:pt x="1297" y="685"/>
                </a:lnTo>
                <a:lnTo>
                  <a:pt x="1297" y="783"/>
                </a:lnTo>
                <a:close/>
                <a:moveTo>
                  <a:pt x="1383" y="734"/>
                </a:moveTo>
                <a:lnTo>
                  <a:pt x="1334" y="783"/>
                </a:lnTo>
                <a:lnTo>
                  <a:pt x="1334" y="685"/>
                </a:lnTo>
                <a:lnTo>
                  <a:pt x="1383" y="734"/>
                </a:lnTo>
                <a:close/>
                <a:moveTo>
                  <a:pt x="1346" y="673"/>
                </a:moveTo>
                <a:lnTo>
                  <a:pt x="1444" y="673"/>
                </a:lnTo>
                <a:lnTo>
                  <a:pt x="1395" y="722"/>
                </a:lnTo>
                <a:lnTo>
                  <a:pt x="1346" y="673"/>
                </a:lnTo>
                <a:close/>
                <a:moveTo>
                  <a:pt x="1346" y="808"/>
                </a:moveTo>
                <a:lnTo>
                  <a:pt x="1395" y="747"/>
                </a:lnTo>
                <a:lnTo>
                  <a:pt x="1444" y="808"/>
                </a:lnTo>
                <a:lnTo>
                  <a:pt x="1346" y="808"/>
                </a:lnTo>
                <a:close/>
                <a:moveTo>
                  <a:pt x="1456" y="783"/>
                </a:moveTo>
                <a:lnTo>
                  <a:pt x="1407" y="734"/>
                </a:lnTo>
                <a:lnTo>
                  <a:pt x="1456" y="685"/>
                </a:lnTo>
                <a:lnTo>
                  <a:pt x="1456" y="783"/>
                </a:lnTo>
                <a:close/>
                <a:moveTo>
                  <a:pt x="1542" y="734"/>
                </a:moveTo>
                <a:lnTo>
                  <a:pt x="1493" y="783"/>
                </a:lnTo>
                <a:lnTo>
                  <a:pt x="1493" y="685"/>
                </a:lnTo>
                <a:lnTo>
                  <a:pt x="1542" y="734"/>
                </a:lnTo>
                <a:close/>
                <a:moveTo>
                  <a:pt x="1505" y="673"/>
                </a:moveTo>
                <a:lnTo>
                  <a:pt x="1615" y="673"/>
                </a:lnTo>
                <a:lnTo>
                  <a:pt x="1554" y="722"/>
                </a:lnTo>
                <a:lnTo>
                  <a:pt x="1505" y="673"/>
                </a:lnTo>
                <a:close/>
                <a:moveTo>
                  <a:pt x="1505" y="808"/>
                </a:moveTo>
                <a:lnTo>
                  <a:pt x="1554" y="747"/>
                </a:lnTo>
                <a:lnTo>
                  <a:pt x="1615" y="808"/>
                </a:lnTo>
                <a:lnTo>
                  <a:pt x="1505" y="808"/>
                </a:lnTo>
                <a:close/>
                <a:moveTo>
                  <a:pt x="1628" y="783"/>
                </a:moveTo>
                <a:lnTo>
                  <a:pt x="1579" y="734"/>
                </a:lnTo>
                <a:lnTo>
                  <a:pt x="1628" y="685"/>
                </a:lnTo>
                <a:lnTo>
                  <a:pt x="1628" y="783"/>
                </a:lnTo>
                <a:close/>
                <a:moveTo>
                  <a:pt x="1713" y="734"/>
                </a:moveTo>
                <a:lnTo>
                  <a:pt x="1664" y="783"/>
                </a:lnTo>
                <a:lnTo>
                  <a:pt x="1664" y="685"/>
                </a:lnTo>
                <a:lnTo>
                  <a:pt x="1713" y="734"/>
                </a:lnTo>
                <a:close/>
                <a:moveTo>
                  <a:pt x="1677" y="673"/>
                </a:moveTo>
                <a:lnTo>
                  <a:pt x="1775" y="673"/>
                </a:lnTo>
                <a:lnTo>
                  <a:pt x="1775" y="673"/>
                </a:lnTo>
                <a:lnTo>
                  <a:pt x="1726" y="722"/>
                </a:lnTo>
                <a:lnTo>
                  <a:pt x="1677" y="673"/>
                </a:lnTo>
                <a:close/>
                <a:moveTo>
                  <a:pt x="1775" y="808"/>
                </a:moveTo>
                <a:lnTo>
                  <a:pt x="1677" y="808"/>
                </a:lnTo>
                <a:lnTo>
                  <a:pt x="1726" y="747"/>
                </a:lnTo>
                <a:lnTo>
                  <a:pt x="1775" y="808"/>
                </a:lnTo>
                <a:lnTo>
                  <a:pt x="1775" y="808"/>
                </a:lnTo>
                <a:close/>
                <a:moveTo>
                  <a:pt x="1787" y="783"/>
                </a:moveTo>
                <a:lnTo>
                  <a:pt x="1738" y="734"/>
                </a:lnTo>
                <a:lnTo>
                  <a:pt x="1787" y="685"/>
                </a:lnTo>
                <a:lnTo>
                  <a:pt x="1787" y="783"/>
                </a:lnTo>
                <a:close/>
                <a:moveTo>
                  <a:pt x="1885" y="734"/>
                </a:moveTo>
                <a:lnTo>
                  <a:pt x="1823" y="783"/>
                </a:lnTo>
                <a:lnTo>
                  <a:pt x="1823" y="685"/>
                </a:lnTo>
                <a:lnTo>
                  <a:pt x="1885" y="734"/>
                </a:lnTo>
                <a:close/>
                <a:moveTo>
                  <a:pt x="1848" y="673"/>
                </a:moveTo>
                <a:lnTo>
                  <a:pt x="1946" y="673"/>
                </a:lnTo>
                <a:lnTo>
                  <a:pt x="1897" y="722"/>
                </a:lnTo>
                <a:lnTo>
                  <a:pt x="1848" y="673"/>
                </a:lnTo>
                <a:close/>
                <a:moveTo>
                  <a:pt x="1848" y="808"/>
                </a:moveTo>
                <a:lnTo>
                  <a:pt x="1897" y="747"/>
                </a:lnTo>
                <a:lnTo>
                  <a:pt x="1946" y="808"/>
                </a:lnTo>
                <a:lnTo>
                  <a:pt x="1848" y="808"/>
                </a:lnTo>
                <a:close/>
                <a:moveTo>
                  <a:pt x="1970" y="783"/>
                </a:moveTo>
                <a:lnTo>
                  <a:pt x="1909" y="734"/>
                </a:lnTo>
                <a:lnTo>
                  <a:pt x="1970" y="685"/>
                </a:lnTo>
                <a:lnTo>
                  <a:pt x="1970" y="783"/>
                </a:lnTo>
                <a:close/>
                <a:moveTo>
                  <a:pt x="2044" y="734"/>
                </a:moveTo>
                <a:lnTo>
                  <a:pt x="1995" y="783"/>
                </a:lnTo>
                <a:lnTo>
                  <a:pt x="1995" y="685"/>
                </a:lnTo>
                <a:lnTo>
                  <a:pt x="2044" y="734"/>
                </a:lnTo>
                <a:close/>
                <a:moveTo>
                  <a:pt x="2007" y="673"/>
                </a:moveTo>
                <a:lnTo>
                  <a:pt x="2117" y="673"/>
                </a:lnTo>
                <a:lnTo>
                  <a:pt x="2068" y="722"/>
                </a:lnTo>
                <a:lnTo>
                  <a:pt x="2007" y="673"/>
                </a:lnTo>
                <a:close/>
                <a:moveTo>
                  <a:pt x="2007" y="808"/>
                </a:moveTo>
                <a:lnTo>
                  <a:pt x="2068" y="747"/>
                </a:lnTo>
                <a:lnTo>
                  <a:pt x="2117" y="808"/>
                </a:lnTo>
                <a:lnTo>
                  <a:pt x="2007" y="808"/>
                </a:lnTo>
                <a:close/>
                <a:moveTo>
                  <a:pt x="2129" y="783"/>
                </a:moveTo>
                <a:lnTo>
                  <a:pt x="2080" y="734"/>
                </a:lnTo>
                <a:lnTo>
                  <a:pt x="2129" y="685"/>
                </a:lnTo>
                <a:lnTo>
                  <a:pt x="2129" y="783"/>
                </a:lnTo>
                <a:close/>
                <a:moveTo>
                  <a:pt x="2215" y="734"/>
                </a:moveTo>
                <a:lnTo>
                  <a:pt x="2166" y="783"/>
                </a:lnTo>
                <a:lnTo>
                  <a:pt x="2166" y="685"/>
                </a:lnTo>
                <a:lnTo>
                  <a:pt x="2215" y="734"/>
                </a:lnTo>
                <a:close/>
                <a:moveTo>
                  <a:pt x="2178" y="673"/>
                </a:moveTo>
                <a:lnTo>
                  <a:pt x="2276" y="673"/>
                </a:lnTo>
                <a:lnTo>
                  <a:pt x="2227" y="722"/>
                </a:lnTo>
                <a:lnTo>
                  <a:pt x="2178" y="673"/>
                </a:lnTo>
                <a:close/>
                <a:moveTo>
                  <a:pt x="2178" y="808"/>
                </a:moveTo>
                <a:lnTo>
                  <a:pt x="2227" y="747"/>
                </a:lnTo>
                <a:lnTo>
                  <a:pt x="2289" y="808"/>
                </a:lnTo>
                <a:lnTo>
                  <a:pt x="2178" y="808"/>
                </a:lnTo>
                <a:close/>
                <a:moveTo>
                  <a:pt x="2301" y="783"/>
                </a:moveTo>
                <a:lnTo>
                  <a:pt x="2240" y="734"/>
                </a:lnTo>
                <a:lnTo>
                  <a:pt x="2301" y="685"/>
                </a:lnTo>
                <a:lnTo>
                  <a:pt x="2301" y="783"/>
                </a:lnTo>
                <a:close/>
                <a:moveTo>
                  <a:pt x="2338" y="808"/>
                </a:moveTo>
                <a:lnTo>
                  <a:pt x="2399" y="747"/>
                </a:lnTo>
                <a:lnTo>
                  <a:pt x="2448" y="808"/>
                </a:lnTo>
                <a:lnTo>
                  <a:pt x="2338" y="808"/>
                </a:lnTo>
                <a:close/>
                <a:moveTo>
                  <a:pt x="2325" y="783"/>
                </a:moveTo>
                <a:lnTo>
                  <a:pt x="2325" y="685"/>
                </a:lnTo>
                <a:lnTo>
                  <a:pt x="2374" y="734"/>
                </a:lnTo>
                <a:lnTo>
                  <a:pt x="2325" y="783"/>
                </a:lnTo>
                <a:close/>
                <a:moveTo>
                  <a:pt x="2656" y="734"/>
                </a:moveTo>
                <a:lnTo>
                  <a:pt x="2827" y="808"/>
                </a:lnTo>
                <a:lnTo>
                  <a:pt x="2656" y="808"/>
                </a:lnTo>
                <a:lnTo>
                  <a:pt x="2656" y="734"/>
                </a:lnTo>
                <a:close/>
                <a:moveTo>
                  <a:pt x="2619" y="722"/>
                </a:moveTo>
                <a:lnTo>
                  <a:pt x="2619" y="808"/>
                </a:lnTo>
                <a:lnTo>
                  <a:pt x="2509" y="808"/>
                </a:lnTo>
                <a:lnTo>
                  <a:pt x="2607" y="722"/>
                </a:lnTo>
                <a:lnTo>
                  <a:pt x="2619" y="722"/>
                </a:lnTo>
                <a:close/>
                <a:moveTo>
                  <a:pt x="2497" y="673"/>
                </a:moveTo>
                <a:lnTo>
                  <a:pt x="2582" y="710"/>
                </a:lnTo>
                <a:lnTo>
                  <a:pt x="2497" y="795"/>
                </a:lnTo>
                <a:lnTo>
                  <a:pt x="2497" y="673"/>
                </a:lnTo>
                <a:close/>
                <a:moveTo>
                  <a:pt x="2460" y="783"/>
                </a:moveTo>
                <a:lnTo>
                  <a:pt x="2411" y="734"/>
                </a:lnTo>
                <a:lnTo>
                  <a:pt x="2460" y="685"/>
                </a:lnTo>
                <a:lnTo>
                  <a:pt x="2460" y="783"/>
                </a:lnTo>
                <a:close/>
                <a:moveTo>
                  <a:pt x="2399" y="722"/>
                </a:moveTo>
                <a:lnTo>
                  <a:pt x="2338" y="673"/>
                </a:lnTo>
                <a:lnTo>
                  <a:pt x="2448" y="673"/>
                </a:lnTo>
                <a:lnTo>
                  <a:pt x="2399" y="722"/>
                </a:lnTo>
                <a:close/>
                <a:moveTo>
                  <a:pt x="1077" y="196"/>
                </a:moveTo>
                <a:lnTo>
                  <a:pt x="1077" y="159"/>
                </a:lnTo>
                <a:lnTo>
                  <a:pt x="1077" y="110"/>
                </a:lnTo>
                <a:lnTo>
                  <a:pt x="2386" y="636"/>
                </a:lnTo>
                <a:lnTo>
                  <a:pt x="2325" y="636"/>
                </a:lnTo>
                <a:lnTo>
                  <a:pt x="2301" y="636"/>
                </a:lnTo>
                <a:lnTo>
                  <a:pt x="2166" y="636"/>
                </a:lnTo>
                <a:lnTo>
                  <a:pt x="2129" y="636"/>
                </a:lnTo>
                <a:lnTo>
                  <a:pt x="1995" y="636"/>
                </a:lnTo>
                <a:lnTo>
                  <a:pt x="1970" y="636"/>
                </a:lnTo>
                <a:lnTo>
                  <a:pt x="1823" y="636"/>
                </a:lnTo>
                <a:lnTo>
                  <a:pt x="1823" y="636"/>
                </a:lnTo>
                <a:lnTo>
                  <a:pt x="1787" y="636"/>
                </a:lnTo>
                <a:lnTo>
                  <a:pt x="1775" y="636"/>
                </a:lnTo>
                <a:lnTo>
                  <a:pt x="1664" y="636"/>
                </a:lnTo>
                <a:lnTo>
                  <a:pt x="1628" y="636"/>
                </a:lnTo>
                <a:lnTo>
                  <a:pt x="1493" y="636"/>
                </a:lnTo>
                <a:lnTo>
                  <a:pt x="1456" y="636"/>
                </a:lnTo>
                <a:lnTo>
                  <a:pt x="1334" y="636"/>
                </a:lnTo>
                <a:lnTo>
                  <a:pt x="1297" y="636"/>
                </a:lnTo>
                <a:lnTo>
                  <a:pt x="1114" y="636"/>
                </a:lnTo>
                <a:lnTo>
                  <a:pt x="1114" y="551"/>
                </a:lnTo>
                <a:lnTo>
                  <a:pt x="1077" y="551"/>
                </a:lnTo>
                <a:lnTo>
                  <a:pt x="1077" y="196"/>
                </a:lnTo>
                <a:close/>
                <a:moveTo>
                  <a:pt x="9277" y="3451"/>
                </a:moveTo>
                <a:lnTo>
                  <a:pt x="9314" y="3451"/>
                </a:lnTo>
                <a:lnTo>
                  <a:pt x="9314" y="3464"/>
                </a:lnTo>
                <a:lnTo>
                  <a:pt x="9277" y="3451"/>
                </a:lnTo>
                <a:close/>
                <a:moveTo>
                  <a:pt x="9412" y="3733"/>
                </a:moveTo>
                <a:lnTo>
                  <a:pt x="9412" y="3818"/>
                </a:lnTo>
                <a:lnTo>
                  <a:pt x="9351" y="3818"/>
                </a:lnTo>
                <a:lnTo>
                  <a:pt x="9351" y="3733"/>
                </a:lnTo>
                <a:lnTo>
                  <a:pt x="9412" y="3733"/>
                </a:lnTo>
                <a:close/>
                <a:moveTo>
                  <a:pt x="9351" y="3696"/>
                </a:moveTo>
                <a:lnTo>
                  <a:pt x="9351" y="3586"/>
                </a:lnTo>
                <a:lnTo>
                  <a:pt x="9412" y="3586"/>
                </a:lnTo>
                <a:lnTo>
                  <a:pt x="9412" y="3696"/>
                </a:lnTo>
                <a:lnTo>
                  <a:pt x="9351" y="3696"/>
                </a:lnTo>
                <a:close/>
                <a:moveTo>
                  <a:pt x="9338" y="2766"/>
                </a:moveTo>
                <a:lnTo>
                  <a:pt x="9412" y="2766"/>
                </a:lnTo>
                <a:lnTo>
                  <a:pt x="9412" y="2864"/>
                </a:lnTo>
                <a:lnTo>
                  <a:pt x="9338" y="2864"/>
                </a:lnTo>
                <a:lnTo>
                  <a:pt x="9338" y="2766"/>
                </a:lnTo>
                <a:close/>
                <a:moveTo>
                  <a:pt x="9338" y="2901"/>
                </a:moveTo>
                <a:lnTo>
                  <a:pt x="9412" y="2901"/>
                </a:lnTo>
                <a:lnTo>
                  <a:pt x="9412" y="3011"/>
                </a:lnTo>
                <a:lnTo>
                  <a:pt x="9338" y="3011"/>
                </a:lnTo>
                <a:lnTo>
                  <a:pt x="9338" y="2901"/>
                </a:lnTo>
                <a:close/>
                <a:moveTo>
                  <a:pt x="9338" y="3047"/>
                </a:moveTo>
                <a:lnTo>
                  <a:pt x="9412" y="3047"/>
                </a:lnTo>
                <a:lnTo>
                  <a:pt x="9412" y="3158"/>
                </a:lnTo>
                <a:lnTo>
                  <a:pt x="9338" y="3158"/>
                </a:lnTo>
                <a:lnTo>
                  <a:pt x="9338" y="3047"/>
                </a:lnTo>
                <a:close/>
                <a:moveTo>
                  <a:pt x="9338" y="3182"/>
                </a:moveTo>
                <a:lnTo>
                  <a:pt x="9412" y="3182"/>
                </a:lnTo>
                <a:lnTo>
                  <a:pt x="9412" y="3268"/>
                </a:lnTo>
                <a:lnTo>
                  <a:pt x="9338" y="3268"/>
                </a:lnTo>
                <a:lnTo>
                  <a:pt x="9338" y="3182"/>
                </a:lnTo>
                <a:close/>
                <a:moveTo>
                  <a:pt x="9338" y="3304"/>
                </a:moveTo>
                <a:lnTo>
                  <a:pt x="9412" y="3304"/>
                </a:lnTo>
                <a:lnTo>
                  <a:pt x="9412" y="3415"/>
                </a:lnTo>
                <a:lnTo>
                  <a:pt x="9338" y="3415"/>
                </a:lnTo>
                <a:lnTo>
                  <a:pt x="9338" y="3304"/>
                </a:lnTo>
                <a:close/>
                <a:moveTo>
                  <a:pt x="9338" y="3451"/>
                </a:moveTo>
                <a:lnTo>
                  <a:pt x="9412" y="3451"/>
                </a:lnTo>
                <a:lnTo>
                  <a:pt x="9412" y="3561"/>
                </a:lnTo>
                <a:lnTo>
                  <a:pt x="9351" y="3561"/>
                </a:lnTo>
                <a:lnTo>
                  <a:pt x="9351" y="3476"/>
                </a:lnTo>
                <a:lnTo>
                  <a:pt x="9338" y="3464"/>
                </a:lnTo>
                <a:lnTo>
                  <a:pt x="9338" y="3451"/>
                </a:lnTo>
                <a:close/>
                <a:moveTo>
                  <a:pt x="9167" y="2766"/>
                </a:moveTo>
                <a:lnTo>
                  <a:pt x="9314" y="2766"/>
                </a:lnTo>
                <a:lnTo>
                  <a:pt x="9314" y="2864"/>
                </a:lnTo>
                <a:lnTo>
                  <a:pt x="9167" y="2864"/>
                </a:lnTo>
                <a:lnTo>
                  <a:pt x="9167" y="2766"/>
                </a:lnTo>
                <a:close/>
                <a:moveTo>
                  <a:pt x="9167" y="2901"/>
                </a:moveTo>
                <a:lnTo>
                  <a:pt x="9314" y="2901"/>
                </a:lnTo>
                <a:lnTo>
                  <a:pt x="9314" y="3011"/>
                </a:lnTo>
                <a:lnTo>
                  <a:pt x="9167" y="3011"/>
                </a:lnTo>
                <a:lnTo>
                  <a:pt x="9167" y="2901"/>
                </a:lnTo>
                <a:close/>
                <a:moveTo>
                  <a:pt x="9167" y="3047"/>
                </a:moveTo>
                <a:lnTo>
                  <a:pt x="9314" y="3047"/>
                </a:lnTo>
                <a:lnTo>
                  <a:pt x="9314" y="3158"/>
                </a:lnTo>
                <a:lnTo>
                  <a:pt x="9167" y="3158"/>
                </a:lnTo>
                <a:lnTo>
                  <a:pt x="9167" y="3047"/>
                </a:lnTo>
                <a:close/>
                <a:moveTo>
                  <a:pt x="9167" y="3182"/>
                </a:moveTo>
                <a:lnTo>
                  <a:pt x="9314" y="3182"/>
                </a:lnTo>
                <a:lnTo>
                  <a:pt x="9314" y="3268"/>
                </a:lnTo>
                <a:lnTo>
                  <a:pt x="9167" y="3268"/>
                </a:lnTo>
                <a:lnTo>
                  <a:pt x="9167" y="3182"/>
                </a:lnTo>
                <a:close/>
                <a:moveTo>
                  <a:pt x="9167" y="3304"/>
                </a:moveTo>
                <a:lnTo>
                  <a:pt x="9314" y="3304"/>
                </a:lnTo>
                <a:lnTo>
                  <a:pt x="9314" y="3415"/>
                </a:lnTo>
                <a:lnTo>
                  <a:pt x="9179" y="3415"/>
                </a:lnTo>
                <a:lnTo>
                  <a:pt x="9167" y="3415"/>
                </a:lnTo>
                <a:lnTo>
                  <a:pt x="9167" y="3304"/>
                </a:lnTo>
                <a:close/>
                <a:moveTo>
                  <a:pt x="9069" y="2766"/>
                </a:moveTo>
                <a:lnTo>
                  <a:pt x="9130" y="2766"/>
                </a:lnTo>
                <a:lnTo>
                  <a:pt x="9130" y="2864"/>
                </a:lnTo>
                <a:lnTo>
                  <a:pt x="9069" y="2864"/>
                </a:lnTo>
                <a:lnTo>
                  <a:pt x="9069" y="2766"/>
                </a:lnTo>
                <a:close/>
                <a:moveTo>
                  <a:pt x="9069" y="2901"/>
                </a:moveTo>
                <a:lnTo>
                  <a:pt x="9130" y="2901"/>
                </a:lnTo>
                <a:lnTo>
                  <a:pt x="9130" y="3011"/>
                </a:lnTo>
                <a:lnTo>
                  <a:pt x="9069" y="3011"/>
                </a:lnTo>
                <a:lnTo>
                  <a:pt x="9069" y="2901"/>
                </a:lnTo>
                <a:close/>
                <a:moveTo>
                  <a:pt x="9069" y="3047"/>
                </a:moveTo>
                <a:lnTo>
                  <a:pt x="9130" y="3047"/>
                </a:lnTo>
                <a:lnTo>
                  <a:pt x="9130" y="3158"/>
                </a:lnTo>
                <a:lnTo>
                  <a:pt x="9069" y="3158"/>
                </a:lnTo>
                <a:lnTo>
                  <a:pt x="9069" y="3047"/>
                </a:lnTo>
                <a:close/>
                <a:moveTo>
                  <a:pt x="9069" y="3182"/>
                </a:moveTo>
                <a:lnTo>
                  <a:pt x="9130" y="3182"/>
                </a:lnTo>
                <a:lnTo>
                  <a:pt x="9130" y="3268"/>
                </a:lnTo>
                <a:lnTo>
                  <a:pt x="9069" y="3268"/>
                </a:lnTo>
                <a:lnTo>
                  <a:pt x="9069" y="3182"/>
                </a:lnTo>
                <a:close/>
                <a:moveTo>
                  <a:pt x="9069" y="3304"/>
                </a:moveTo>
                <a:lnTo>
                  <a:pt x="9130" y="3304"/>
                </a:lnTo>
                <a:lnTo>
                  <a:pt x="9130" y="3402"/>
                </a:lnTo>
                <a:lnTo>
                  <a:pt x="9094" y="3415"/>
                </a:lnTo>
                <a:lnTo>
                  <a:pt x="9069" y="3415"/>
                </a:lnTo>
                <a:lnTo>
                  <a:pt x="9069" y="3304"/>
                </a:lnTo>
                <a:close/>
                <a:moveTo>
                  <a:pt x="8898" y="2766"/>
                </a:moveTo>
                <a:lnTo>
                  <a:pt x="9032" y="2766"/>
                </a:lnTo>
                <a:lnTo>
                  <a:pt x="9032" y="2864"/>
                </a:lnTo>
                <a:lnTo>
                  <a:pt x="8898" y="2864"/>
                </a:lnTo>
                <a:lnTo>
                  <a:pt x="8898" y="2766"/>
                </a:lnTo>
                <a:close/>
                <a:moveTo>
                  <a:pt x="8898" y="2901"/>
                </a:moveTo>
                <a:lnTo>
                  <a:pt x="9032" y="2901"/>
                </a:lnTo>
                <a:lnTo>
                  <a:pt x="9032" y="3011"/>
                </a:lnTo>
                <a:lnTo>
                  <a:pt x="8898" y="3011"/>
                </a:lnTo>
                <a:lnTo>
                  <a:pt x="8898" y="2901"/>
                </a:lnTo>
                <a:close/>
                <a:moveTo>
                  <a:pt x="8898" y="3047"/>
                </a:moveTo>
                <a:lnTo>
                  <a:pt x="9032" y="3047"/>
                </a:lnTo>
                <a:lnTo>
                  <a:pt x="9032" y="3158"/>
                </a:lnTo>
                <a:lnTo>
                  <a:pt x="8898" y="3158"/>
                </a:lnTo>
                <a:lnTo>
                  <a:pt x="8898" y="3047"/>
                </a:lnTo>
                <a:close/>
                <a:moveTo>
                  <a:pt x="8898" y="3182"/>
                </a:moveTo>
                <a:lnTo>
                  <a:pt x="9032" y="3182"/>
                </a:lnTo>
                <a:lnTo>
                  <a:pt x="9032" y="3268"/>
                </a:lnTo>
                <a:lnTo>
                  <a:pt x="8898" y="3268"/>
                </a:lnTo>
                <a:lnTo>
                  <a:pt x="8898" y="3182"/>
                </a:lnTo>
                <a:close/>
                <a:moveTo>
                  <a:pt x="8898" y="3304"/>
                </a:moveTo>
                <a:lnTo>
                  <a:pt x="9032" y="3304"/>
                </a:lnTo>
                <a:lnTo>
                  <a:pt x="9032" y="3415"/>
                </a:lnTo>
                <a:lnTo>
                  <a:pt x="8898" y="3415"/>
                </a:lnTo>
                <a:lnTo>
                  <a:pt x="8898" y="3304"/>
                </a:lnTo>
                <a:close/>
                <a:moveTo>
                  <a:pt x="8898" y="3451"/>
                </a:moveTo>
                <a:lnTo>
                  <a:pt x="8996" y="3451"/>
                </a:lnTo>
                <a:lnTo>
                  <a:pt x="8922" y="3476"/>
                </a:lnTo>
                <a:lnTo>
                  <a:pt x="8922" y="3561"/>
                </a:lnTo>
                <a:lnTo>
                  <a:pt x="8898" y="3561"/>
                </a:lnTo>
                <a:lnTo>
                  <a:pt x="8898" y="3451"/>
                </a:lnTo>
                <a:close/>
                <a:moveTo>
                  <a:pt x="8898" y="3586"/>
                </a:moveTo>
                <a:lnTo>
                  <a:pt x="8922" y="3586"/>
                </a:lnTo>
                <a:lnTo>
                  <a:pt x="8922" y="3696"/>
                </a:lnTo>
                <a:lnTo>
                  <a:pt x="8898" y="3696"/>
                </a:lnTo>
                <a:lnTo>
                  <a:pt x="8898" y="3586"/>
                </a:lnTo>
                <a:close/>
                <a:moveTo>
                  <a:pt x="8922" y="3733"/>
                </a:moveTo>
                <a:lnTo>
                  <a:pt x="8922" y="3818"/>
                </a:lnTo>
                <a:lnTo>
                  <a:pt x="8898" y="3818"/>
                </a:lnTo>
                <a:lnTo>
                  <a:pt x="8898" y="3733"/>
                </a:lnTo>
                <a:lnTo>
                  <a:pt x="8922" y="3733"/>
                </a:lnTo>
                <a:close/>
                <a:moveTo>
                  <a:pt x="8800" y="2766"/>
                </a:moveTo>
                <a:lnTo>
                  <a:pt x="8861" y="2766"/>
                </a:lnTo>
                <a:lnTo>
                  <a:pt x="8861" y="2864"/>
                </a:lnTo>
                <a:lnTo>
                  <a:pt x="8800" y="2864"/>
                </a:lnTo>
                <a:lnTo>
                  <a:pt x="8800" y="2766"/>
                </a:lnTo>
                <a:close/>
                <a:moveTo>
                  <a:pt x="8800" y="2901"/>
                </a:moveTo>
                <a:lnTo>
                  <a:pt x="8861" y="2901"/>
                </a:lnTo>
                <a:lnTo>
                  <a:pt x="8861" y="3011"/>
                </a:lnTo>
                <a:lnTo>
                  <a:pt x="8800" y="3011"/>
                </a:lnTo>
                <a:lnTo>
                  <a:pt x="8800" y="2901"/>
                </a:lnTo>
                <a:close/>
                <a:moveTo>
                  <a:pt x="8800" y="3047"/>
                </a:moveTo>
                <a:lnTo>
                  <a:pt x="8861" y="3047"/>
                </a:lnTo>
                <a:lnTo>
                  <a:pt x="8861" y="3158"/>
                </a:lnTo>
                <a:lnTo>
                  <a:pt x="8800" y="3158"/>
                </a:lnTo>
                <a:lnTo>
                  <a:pt x="8800" y="3047"/>
                </a:lnTo>
                <a:close/>
                <a:moveTo>
                  <a:pt x="8800" y="3182"/>
                </a:moveTo>
                <a:lnTo>
                  <a:pt x="8861" y="3182"/>
                </a:lnTo>
                <a:lnTo>
                  <a:pt x="8861" y="3268"/>
                </a:lnTo>
                <a:lnTo>
                  <a:pt x="8800" y="3268"/>
                </a:lnTo>
                <a:lnTo>
                  <a:pt x="8800" y="3182"/>
                </a:lnTo>
                <a:close/>
                <a:moveTo>
                  <a:pt x="8800" y="3304"/>
                </a:moveTo>
                <a:lnTo>
                  <a:pt x="8861" y="3304"/>
                </a:lnTo>
                <a:lnTo>
                  <a:pt x="8861" y="3415"/>
                </a:lnTo>
                <a:lnTo>
                  <a:pt x="8800" y="3415"/>
                </a:lnTo>
                <a:lnTo>
                  <a:pt x="8800" y="3304"/>
                </a:lnTo>
                <a:close/>
                <a:moveTo>
                  <a:pt x="8800" y="3451"/>
                </a:moveTo>
                <a:lnTo>
                  <a:pt x="8861" y="3451"/>
                </a:lnTo>
                <a:lnTo>
                  <a:pt x="8861" y="3561"/>
                </a:lnTo>
                <a:lnTo>
                  <a:pt x="8800" y="3561"/>
                </a:lnTo>
                <a:lnTo>
                  <a:pt x="8800" y="3451"/>
                </a:lnTo>
                <a:close/>
                <a:moveTo>
                  <a:pt x="8800" y="3586"/>
                </a:moveTo>
                <a:lnTo>
                  <a:pt x="8861" y="3586"/>
                </a:lnTo>
                <a:lnTo>
                  <a:pt x="8861" y="3696"/>
                </a:lnTo>
                <a:lnTo>
                  <a:pt x="8800" y="3696"/>
                </a:lnTo>
                <a:lnTo>
                  <a:pt x="8800" y="3586"/>
                </a:lnTo>
                <a:close/>
                <a:moveTo>
                  <a:pt x="8800" y="3733"/>
                </a:moveTo>
                <a:lnTo>
                  <a:pt x="8861" y="3733"/>
                </a:lnTo>
                <a:lnTo>
                  <a:pt x="8861" y="3818"/>
                </a:lnTo>
                <a:lnTo>
                  <a:pt x="8800" y="3818"/>
                </a:lnTo>
                <a:lnTo>
                  <a:pt x="8800" y="3733"/>
                </a:lnTo>
                <a:close/>
                <a:moveTo>
                  <a:pt x="8506" y="2521"/>
                </a:moveTo>
                <a:lnTo>
                  <a:pt x="8445" y="2448"/>
                </a:lnTo>
                <a:lnTo>
                  <a:pt x="8506" y="2387"/>
                </a:lnTo>
                <a:lnTo>
                  <a:pt x="8506" y="2521"/>
                </a:lnTo>
                <a:close/>
                <a:moveTo>
                  <a:pt x="8482" y="2117"/>
                </a:moveTo>
                <a:lnTo>
                  <a:pt x="8359" y="2117"/>
                </a:lnTo>
                <a:lnTo>
                  <a:pt x="8420" y="2056"/>
                </a:lnTo>
                <a:lnTo>
                  <a:pt x="8482" y="2117"/>
                </a:lnTo>
                <a:close/>
                <a:moveTo>
                  <a:pt x="8359" y="1958"/>
                </a:moveTo>
                <a:lnTo>
                  <a:pt x="8482" y="1958"/>
                </a:lnTo>
                <a:lnTo>
                  <a:pt x="8420" y="2019"/>
                </a:lnTo>
                <a:lnTo>
                  <a:pt x="8359" y="1958"/>
                </a:lnTo>
                <a:close/>
                <a:moveTo>
                  <a:pt x="8482" y="2166"/>
                </a:moveTo>
                <a:lnTo>
                  <a:pt x="8420" y="2227"/>
                </a:lnTo>
                <a:lnTo>
                  <a:pt x="8359" y="2166"/>
                </a:lnTo>
                <a:lnTo>
                  <a:pt x="8482" y="2166"/>
                </a:lnTo>
                <a:close/>
                <a:moveTo>
                  <a:pt x="8482" y="2325"/>
                </a:moveTo>
                <a:lnTo>
                  <a:pt x="8359" y="2325"/>
                </a:lnTo>
                <a:lnTo>
                  <a:pt x="8420" y="2264"/>
                </a:lnTo>
                <a:lnTo>
                  <a:pt x="8482" y="2325"/>
                </a:lnTo>
                <a:close/>
                <a:moveTo>
                  <a:pt x="8482" y="2374"/>
                </a:moveTo>
                <a:lnTo>
                  <a:pt x="8420" y="2435"/>
                </a:lnTo>
                <a:lnTo>
                  <a:pt x="8359" y="2374"/>
                </a:lnTo>
                <a:lnTo>
                  <a:pt x="8482" y="2374"/>
                </a:lnTo>
                <a:close/>
                <a:moveTo>
                  <a:pt x="8482" y="2533"/>
                </a:moveTo>
                <a:lnTo>
                  <a:pt x="8359" y="2533"/>
                </a:lnTo>
                <a:lnTo>
                  <a:pt x="8420" y="2472"/>
                </a:lnTo>
                <a:lnTo>
                  <a:pt x="8482" y="2533"/>
                </a:lnTo>
                <a:close/>
                <a:moveTo>
                  <a:pt x="8506" y="2313"/>
                </a:moveTo>
                <a:lnTo>
                  <a:pt x="8445" y="2240"/>
                </a:lnTo>
                <a:lnTo>
                  <a:pt x="8506" y="2178"/>
                </a:lnTo>
                <a:lnTo>
                  <a:pt x="8506" y="2313"/>
                </a:lnTo>
                <a:close/>
                <a:moveTo>
                  <a:pt x="8506" y="2105"/>
                </a:moveTo>
                <a:lnTo>
                  <a:pt x="8445" y="2032"/>
                </a:lnTo>
                <a:lnTo>
                  <a:pt x="8506" y="1970"/>
                </a:lnTo>
                <a:lnTo>
                  <a:pt x="8506" y="2105"/>
                </a:lnTo>
                <a:close/>
                <a:moveTo>
                  <a:pt x="8335" y="1872"/>
                </a:moveTo>
                <a:lnTo>
                  <a:pt x="8506" y="1872"/>
                </a:lnTo>
                <a:lnTo>
                  <a:pt x="8506" y="1909"/>
                </a:lnTo>
                <a:lnTo>
                  <a:pt x="8335" y="1909"/>
                </a:lnTo>
                <a:lnTo>
                  <a:pt x="8335" y="1872"/>
                </a:lnTo>
                <a:close/>
                <a:moveTo>
                  <a:pt x="8335" y="1970"/>
                </a:moveTo>
                <a:lnTo>
                  <a:pt x="8396" y="2032"/>
                </a:lnTo>
                <a:lnTo>
                  <a:pt x="8335" y="2105"/>
                </a:lnTo>
                <a:lnTo>
                  <a:pt x="8335" y="1970"/>
                </a:lnTo>
                <a:close/>
                <a:moveTo>
                  <a:pt x="8335" y="2178"/>
                </a:moveTo>
                <a:lnTo>
                  <a:pt x="8396" y="2240"/>
                </a:lnTo>
                <a:lnTo>
                  <a:pt x="8335" y="2313"/>
                </a:lnTo>
                <a:lnTo>
                  <a:pt x="8335" y="2178"/>
                </a:lnTo>
                <a:close/>
                <a:moveTo>
                  <a:pt x="8335" y="2387"/>
                </a:moveTo>
                <a:lnTo>
                  <a:pt x="8396" y="2448"/>
                </a:lnTo>
                <a:lnTo>
                  <a:pt x="8335" y="2521"/>
                </a:lnTo>
                <a:lnTo>
                  <a:pt x="8335" y="2387"/>
                </a:lnTo>
                <a:close/>
                <a:moveTo>
                  <a:pt x="8335" y="2582"/>
                </a:moveTo>
                <a:lnTo>
                  <a:pt x="8506" y="2582"/>
                </a:lnTo>
                <a:lnTo>
                  <a:pt x="8506" y="2607"/>
                </a:lnTo>
                <a:lnTo>
                  <a:pt x="8335" y="2607"/>
                </a:lnTo>
                <a:lnTo>
                  <a:pt x="8335" y="2582"/>
                </a:lnTo>
                <a:close/>
                <a:moveTo>
                  <a:pt x="7637" y="2582"/>
                </a:moveTo>
                <a:lnTo>
                  <a:pt x="7637" y="2533"/>
                </a:lnTo>
                <a:lnTo>
                  <a:pt x="7637" y="2374"/>
                </a:lnTo>
                <a:lnTo>
                  <a:pt x="7637" y="2325"/>
                </a:lnTo>
                <a:lnTo>
                  <a:pt x="7637" y="2166"/>
                </a:lnTo>
                <a:lnTo>
                  <a:pt x="7637" y="2117"/>
                </a:lnTo>
                <a:lnTo>
                  <a:pt x="7637" y="1958"/>
                </a:lnTo>
                <a:lnTo>
                  <a:pt x="7637" y="1909"/>
                </a:lnTo>
                <a:lnTo>
                  <a:pt x="7637" y="1872"/>
                </a:lnTo>
                <a:lnTo>
                  <a:pt x="8286" y="1872"/>
                </a:lnTo>
                <a:lnTo>
                  <a:pt x="8286" y="2607"/>
                </a:lnTo>
                <a:lnTo>
                  <a:pt x="7637" y="2607"/>
                </a:lnTo>
                <a:lnTo>
                  <a:pt x="7637" y="2582"/>
                </a:lnTo>
                <a:close/>
                <a:moveTo>
                  <a:pt x="7735" y="3158"/>
                </a:moveTo>
                <a:lnTo>
                  <a:pt x="7735" y="2925"/>
                </a:lnTo>
                <a:lnTo>
                  <a:pt x="7784" y="2925"/>
                </a:lnTo>
                <a:lnTo>
                  <a:pt x="7784" y="2790"/>
                </a:lnTo>
                <a:lnTo>
                  <a:pt x="8163" y="2790"/>
                </a:lnTo>
                <a:lnTo>
                  <a:pt x="8163" y="2925"/>
                </a:lnTo>
                <a:lnTo>
                  <a:pt x="8212" y="2925"/>
                </a:lnTo>
                <a:lnTo>
                  <a:pt x="8212" y="3158"/>
                </a:lnTo>
                <a:lnTo>
                  <a:pt x="8163" y="3158"/>
                </a:lnTo>
                <a:lnTo>
                  <a:pt x="8163" y="3268"/>
                </a:lnTo>
                <a:lnTo>
                  <a:pt x="7784" y="3268"/>
                </a:lnTo>
                <a:lnTo>
                  <a:pt x="7784" y="3158"/>
                </a:lnTo>
                <a:lnTo>
                  <a:pt x="7735" y="3158"/>
                </a:lnTo>
                <a:close/>
                <a:moveTo>
                  <a:pt x="8359" y="3451"/>
                </a:moveTo>
                <a:lnTo>
                  <a:pt x="8359" y="3818"/>
                </a:lnTo>
                <a:lnTo>
                  <a:pt x="8200" y="3818"/>
                </a:lnTo>
                <a:lnTo>
                  <a:pt x="8200" y="3635"/>
                </a:lnTo>
                <a:lnTo>
                  <a:pt x="7625" y="3635"/>
                </a:lnTo>
                <a:lnTo>
                  <a:pt x="7625" y="3818"/>
                </a:lnTo>
                <a:lnTo>
                  <a:pt x="7527" y="3818"/>
                </a:lnTo>
                <a:lnTo>
                  <a:pt x="7527" y="3451"/>
                </a:lnTo>
                <a:lnTo>
                  <a:pt x="8359" y="3451"/>
                </a:lnTo>
                <a:close/>
                <a:moveTo>
                  <a:pt x="7502" y="2019"/>
                </a:moveTo>
                <a:lnTo>
                  <a:pt x="7453" y="1958"/>
                </a:lnTo>
                <a:lnTo>
                  <a:pt x="7564" y="1958"/>
                </a:lnTo>
                <a:lnTo>
                  <a:pt x="7502" y="2019"/>
                </a:lnTo>
                <a:close/>
                <a:moveTo>
                  <a:pt x="7588" y="1970"/>
                </a:moveTo>
                <a:lnTo>
                  <a:pt x="7588" y="2105"/>
                </a:lnTo>
                <a:lnTo>
                  <a:pt x="7527" y="2032"/>
                </a:lnTo>
                <a:lnTo>
                  <a:pt x="7588" y="1970"/>
                </a:lnTo>
                <a:close/>
                <a:moveTo>
                  <a:pt x="7576" y="2117"/>
                </a:moveTo>
                <a:lnTo>
                  <a:pt x="7441" y="2117"/>
                </a:lnTo>
                <a:lnTo>
                  <a:pt x="7502" y="2056"/>
                </a:lnTo>
                <a:lnTo>
                  <a:pt x="7576" y="2117"/>
                </a:lnTo>
                <a:close/>
                <a:moveTo>
                  <a:pt x="7588" y="2178"/>
                </a:moveTo>
                <a:lnTo>
                  <a:pt x="7588" y="2313"/>
                </a:lnTo>
                <a:lnTo>
                  <a:pt x="7527" y="2240"/>
                </a:lnTo>
                <a:lnTo>
                  <a:pt x="7588" y="2178"/>
                </a:lnTo>
                <a:close/>
                <a:moveTo>
                  <a:pt x="7564" y="2166"/>
                </a:moveTo>
                <a:lnTo>
                  <a:pt x="7502" y="2227"/>
                </a:lnTo>
                <a:lnTo>
                  <a:pt x="7453" y="2166"/>
                </a:lnTo>
                <a:lnTo>
                  <a:pt x="7564" y="2166"/>
                </a:lnTo>
                <a:close/>
                <a:moveTo>
                  <a:pt x="7576" y="2325"/>
                </a:moveTo>
                <a:lnTo>
                  <a:pt x="7441" y="2325"/>
                </a:lnTo>
                <a:lnTo>
                  <a:pt x="7502" y="2264"/>
                </a:lnTo>
                <a:lnTo>
                  <a:pt x="7576" y="2325"/>
                </a:lnTo>
                <a:close/>
                <a:moveTo>
                  <a:pt x="7564" y="2374"/>
                </a:moveTo>
                <a:lnTo>
                  <a:pt x="7502" y="2435"/>
                </a:lnTo>
                <a:lnTo>
                  <a:pt x="7453" y="2374"/>
                </a:lnTo>
                <a:lnTo>
                  <a:pt x="7564" y="2374"/>
                </a:lnTo>
                <a:close/>
                <a:moveTo>
                  <a:pt x="7576" y="2533"/>
                </a:moveTo>
                <a:lnTo>
                  <a:pt x="7441" y="2533"/>
                </a:lnTo>
                <a:lnTo>
                  <a:pt x="7502" y="2472"/>
                </a:lnTo>
                <a:lnTo>
                  <a:pt x="7576" y="2533"/>
                </a:lnTo>
                <a:close/>
                <a:moveTo>
                  <a:pt x="7527" y="2448"/>
                </a:moveTo>
                <a:lnTo>
                  <a:pt x="7588" y="2387"/>
                </a:lnTo>
                <a:lnTo>
                  <a:pt x="7588" y="2521"/>
                </a:lnTo>
                <a:lnTo>
                  <a:pt x="7527" y="2448"/>
                </a:lnTo>
                <a:close/>
                <a:moveTo>
                  <a:pt x="7417" y="1872"/>
                </a:moveTo>
                <a:lnTo>
                  <a:pt x="7588" y="1872"/>
                </a:lnTo>
                <a:lnTo>
                  <a:pt x="7588" y="1909"/>
                </a:lnTo>
                <a:lnTo>
                  <a:pt x="7417" y="1909"/>
                </a:lnTo>
                <a:lnTo>
                  <a:pt x="7417" y="1872"/>
                </a:lnTo>
                <a:close/>
                <a:moveTo>
                  <a:pt x="7417" y="1970"/>
                </a:moveTo>
                <a:lnTo>
                  <a:pt x="7490" y="2032"/>
                </a:lnTo>
                <a:lnTo>
                  <a:pt x="7417" y="2105"/>
                </a:lnTo>
                <a:lnTo>
                  <a:pt x="7417" y="1970"/>
                </a:lnTo>
                <a:close/>
                <a:moveTo>
                  <a:pt x="7417" y="2178"/>
                </a:moveTo>
                <a:lnTo>
                  <a:pt x="7490" y="2240"/>
                </a:lnTo>
                <a:lnTo>
                  <a:pt x="7417" y="2313"/>
                </a:lnTo>
                <a:lnTo>
                  <a:pt x="7417" y="2178"/>
                </a:lnTo>
                <a:close/>
                <a:moveTo>
                  <a:pt x="7417" y="2387"/>
                </a:moveTo>
                <a:lnTo>
                  <a:pt x="7490" y="2448"/>
                </a:lnTo>
                <a:lnTo>
                  <a:pt x="7417" y="2521"/>
                </a:lnTo>
                <a:lnTo>
                  <a:pt x="7417" y="2387"/>
                </a:lnTo>
                <a:close/>
                <a:moveTo>
                  <a:pt x="7417" y="2582"/>
                </a:moveTo>
                <a:lnTo>
                  <a:pt x="7588" y="2582"/>
                </a:lnTo>
                <a:lnTo>
                  <a:pt x="7588" y="2607"/>
                </a:lnTo>
                <a:lnTo>
                  <a:pt x="7417" y="2607"/>
                </a:lnTo>
                <a:lnTo>
                  <a:pt x="7417" y="2582"/>
                </a:lnTo>
                <a:close/>
                <a:moveTo>
                  <a:pt x="7307" y="1872"/>
                </a:moveTo>
                <a:lnTo>
                  <a:pt x="7368" y="1872"/>
                </a:lnTo>
                <a:lnTo>
                  <a:pt x="7368" y="2607"/>
                </a:lnTo>
                <a:lnTo>
                  <a:pt x="7307" y="2607"/>
                </a:lnTo>
                <a:lnTo>
                  <a:pt x="7307" y="1872"/>
                </a:lnTo>
                <a:close/>
                <a:moveTo>
                  <a:pt x="7307" y="2790"/>
                </a:moveTo>
                <a:lnTo>
                  <a:pt x="7539" y="2790"/>
                </a:lnTo>
                <a:lnTo>
                  <a:pt x="7539" y="2925"/>
                </a:lnTo>
                <a:lnTo>
                  <a:pt x="7588" y="2925"/>
                </a:lnTo>
                <a:lnTo>
                  <a:pt x="7588" y="3158"/>
                </a:lnTo>
                <a:lnTo>
                  <a:pt x="7539" y="3158"/>
                </a:lnTo>
                <a:lnTo>
                  <a:pt x="7539" y="3268"/>
                </a:lnTo>
                <a:lnTo>
                  <a:pt x="7307" y="3268"/>
                </a:lnTo>
                <a:lnTo>
                  <a:pt x="7307" y="2790"/>
                </a:lnTo>
                <a:close/>
                <a:moveTo>
                  <a:pt x="7294" y="918"/>
                </a:moveTo>
                <a:lnTo>
                  <a:pt x="7294" y="881"/>
                </a:lnTo>
                <a:lnTo>
                  <a:pt x="7307" y="869"/>
                </a:lnTo>
                <a:lnTo>
                  <a:pt x="7356" y="918"/>
                </a:lnTo>
                <a:lnTo>
                  <a:pt x="7294" y="918"/>
                </a:lnTo>
                <a:close/>
                <a:moveTo>
                  <a:pt x="7294" y="820"/>
                </a:moveTo>
                <a:lnTo>
                  <a:pt x="7294" y="783"/>
                </a:lnTo>
                <a:lnTo>
                  <a:pt x="7356" y="783"/>
                </a:lnTo>
                <a:lnTo>
                  <a:pt x="7307" y="832"/>
                </a:lnTo>
                <a:lnTo>
                  <a:pt x="7294" y="820"/>
                </a:lnTo>
                <a:close/>
                <a:moveTo>
                  <a:pt x="7368" y="893"/>
                </a:moveTo>
                <a:lnTo>
                  <a:pt x="7331" y="857"/>
                </a:lnTo>
                <a:lnTo>
                  <a:pt x="7368" y="808"/>
                </a:lnTo>
                <a:lnTo>
                  <a:pt x="7368" y="893"/>
                </a:lnTo>
                <a:close/>
                <a:moveTo>
                  <a:pt x="7441" y="857"/>
                </a:moveTo>
                <a:lnTo>
                  <a:pt x="7392" y="893"/>
                </a:lnTo>
                <a:lnTo>
                  <a:pt x="7392" y="808"/>
                </a:lnTo>
                <a:lnTo>
                  <a:pt x="7441" y="857"/>
                </a:lnTo>
                <a:close/>
                <a:moveTo>
                  <a:pt x="7417" y="783"/>
                </a:moveTo>
                <a:lnTo>
                  <a:pt x="7502" y="783"/>
                </a:lnTo>
                <a:lnTo>
                  <a:pt x="7453" y="832"/>
                </a:lnTo>
                <a:lnTo>
                  <a:pt x="7417" y="783"/>
                </a:lnTo>
                <a:close/>
                <a:moveTo>
                  <a:pt x="7405" y="918"/>
                </a:moveTo>
                <a:lnTo>
                  <a:pt x="7453" y="869"/>
                </a:lnTo>
                <a:lnTo>
                  <a:pt x="7502" y="918"/>
                </a:lnTo>
                <a:lnTo>
                  <a:pt x="7405" y="918"/>
                </a:lnTo>
                <a:close/>
                <a:moveTo>
                  <a:pt x="7515" y="893"/>
                </a:moveTo>
                <a:lnTo>
                  <a:pt x="7466" y="857"/>
                </a:lnTo>
                <a:lnTo>
                  <a:pt x="7515" y="808"/>
                </a:lnTo>
                <a:lnTo>
                  <a:pt x="7515" y="893"/>
                </a:lnTo>
                <a:close/>
                <a:moveTo>
                  <a:pt x="7588" y="857"/>
                </a:moveTo>
                <a:lnTo>
                  <a:pt x="7539" y="893"/>
                </a:lnTo>
                <a:lnTo>
                  <a:pt x="7539" y="808"/>
                </a:lnTo>
                <a:lnTo>
                  <a:pt x="7588" y="857"/>
                </a:lnTo>
                <a:close/>
                <a:moveTo>
                  <a:pt x="7551" y="783"/>
                </a:moveTo>
                <a:lnTo>
                  <a:pt x="7649" y="783"/>
                </a:lnTo>
                <a:lnTo>
                  <a:pt x="7600" y="832"/>
                </a:lnTo>
                <a:lnTo>
                  <a:pt x="7551" y="783"/>
                </a:lnTo>
                <a:close/>
                <a:moveTo>
                  <a:pt x="7551" y="918"/>
                </a:moveTo>
                <a:lnTo>
                  <a:pt x="7600" y="869"/>
                </a:lnTo>
                <a:lnTo>
                  <a:pt x="7649" y="918"/>
                </a:lnTo>
                <a:lnTo>
                  <a:pt x="7551" y="918"/>
                </a:lnTo>
                <a:close/>
                <a:moveTo>
                  <a:pt x="7662" y="893"/>
                </a:moveTo>
                <a:lnTo>
                  <a:pt x="7613" y="857"/>
                </a:lnTo>
                <a:lnTo>
                  <a:pt x="7662" y="808"/>
                </a:lnTo>
                <a:lnTo>
                  <a:pt x="7662" y="893"/>
                </a:lnTo>
                <a:close/>
                <a:moveTo>
                  <a:pt x="7735" y="918"/>
                </a:moveTo>
                <a:lnTo>
                  <a:pt x="7698" y="918"/>
                </a:lnTo>
                <a:lnTo>
                  <a:pt x="7735" y="881"/>
                </a:lnTo>
                <a:lnTo>
                  <a:pt x="7735" y="918"/>
                </a:lnTo>
                <a:close/>
                <a:moveTo>
                  <a:pt x="7686" y="893"/>
                </a:moveTo>
                <a:lnTo>
                  <a:pt x="7686" y="808"/>
                </a:lnTo>
                <a:lnTo>
                  <a:pt x="7735" y="857"/>
                </a:lnTo>
                <a:lnTo>
                  <a:pt x="7686" y="893"/>
                </a:lnTo>
                <a:close/>
                <a:moveTo>
                  <a:pt x="7735" y="783"/>
                </a:moveTo>
                <a:lnTo>
                  <a:pt x="7735" y="820"/>
                </a:lnTo>
                <a:lnTo>
                  <a:pt x="7698" y="783"/>
                </a:lnTo>
                <a:lnTo>
                  <a:pt x="7735" y="783"/>
                </a:lnTo>
                <a:close/>
                <a:moveTo>
                  <a:pt x="7258" y="673"/>
                </a:moveTo>
                <a:lnTo>
                  <a:pt x="7258" y="526"/>
                </a:lnTo>
                <a:lnTo>
                  <a:pt x="7258" y="490"/>
                </a:lnTo>
                <a:lnTo>
                  <a:pt x="7258" y="343"/>
                </a:lnTo>
                <a:lnTo>
                  <a:pt x="7258" y="318"/>
                </a:lnTo>
                <a:lnTo>
                  <a:pt x="7698" y="759"/>
                </a:lnTo>
                <a:lnTo>
                  <a:pt x="7686" y="759"/>
                </a:lnTo>
                <a:lnTo>
                  <a:pt x="7662" y="759"/>
                </a:lnTo>
                <a:lnTo>
                  <a:pt x="7539" y="759"/>
                </a:lnTo>
                <a:lnTo>
                  <a:pt x="7515" y="759"/>
                </a:lnTo>
                <a:lnTo>
                  <a:pt x="7392" y="759"/>
                </a:lnTo>
                <a:lnTo>
                  <a:pt x="7368" y="759"/>
                </a:lnTo>
                <a:lnTo>
                  <a:pt x="7294" y="759"/>
                </a:lnTo>
                <a:lnTo>
                  <a:pt x="7294" y="673"/>
                </a:lnTo>
                <a:lnTo>
                  <a:pt x="7258" y="673"/>
                </a:lnTo>
                <a:lnTo>
                  <a:pt x="7258" y="673"/>
                </a:lnTo>
                <a:close/>
                <a:moveTo>
                  <a:pt x="7209" y="1995"/>
                </a:moveTo>
                <a:lnTo>
                  <a:pt x="7147" y="2068"/>
                </a:lnTo>
                <a:lnTo>
                  <a:pt x="7074" y="1995"/>
                </a:lnTo>
                <a:lnTo>
                  <a:pt x="7209" y="1995"/>
                </a:lnTo>
                <a:close/>
                <a:moveTo>
                  <a:pt x="7086" y="1946"/>
                </a:moveTo>
                <a:lnTo>
                  <a:pt x="7147" y="1872"/>
                </a:lnTo>
                <a:lnTo>
                  <a:pt x="7209" y="1946"/>
                </a:lnTo>
                <a:lnTo>
                  <a:pt x="7086" y="1946"/>
                </a:lnTo>
                <a:close/>
                <a:moveTo>
                  <a:pt x="7209" y="2191"/>
                </a:moveTo>
                <a:lnTo>
                  <a:pt x="7086" y="2191"/>
                </a:lnTo>
                <a:lnTo>
                  <a:pt x="7147" y="2117"/>
                </a:lnTo>
                <a:lnTo>
                  <a:pt x="7209" y="2191"/>
                </a:lnTo>
                <a:close/>
                <a:moveTo>
                  <a:pt x="7209" y="2240"/>
                </a:moveTo>
                <a:lnTo>
                  <a:pt x="7147" y="2313"/>
                </a:lnTo>
                <a:lnTo>
                  <a:pt x="7074" y="2240"/>
                </a:lnTo>
                <a:lnTo>
                  <a:pt x="7209" y="2240"/>
                </a:lnTo>
                <a:close/>
                <a:moveTo>
                  <a:pt x="7209" y="2435"/>
                </a:moveTo>
                <a:lnTo>
                  <a:pt x="7086" y="2435"/>
                </a:lnTo>
                <a:lnTo>
                  <a:pt x="7147" y="2362"/>
                </a:lnTo>
                <a:lnTo>
                  <a:pt x="7209" y="2435"/>
                </a:lnTo>
                <a:close/>
                <a:moveTo>
                  <a:pt x="7209" y="2484"/>
                </a:moveTo>
                <a:lnTo>
                  <a:pt x="7147" y="2558"/>
                </a:lnTo>
                <a:lnTo>
                  <a:pt x="7074" y="2484"/>
                </a:lnTo>
                <a:lnTo>
                  <a:pt x="7209" y="2484"/>
                </a:lnTo>
                <a:close/>
                <a:moveTo>
                  <a:pt x="7233" y="2509"/>
                </a:moveTo>
                <a:lnTo>
                  <a:pt x="7233" y="2656"/>
                </a:lnTo>
                <a:lnTo>
                  <a:pt x="7172" y="2582"/>
                </a:lnTo>
                <a:lnTo>
                  <a:pt x="7233" y="2509"/>
                </a:lnTo>
                <a:close/>
                <a:moveTo>
                  <a:pt x="7172" y="2338"/>
                </a:moveTo>
                <a:lnTo>
                  <a:pt x="7233" y="2264"/>
                </a:lnTo>
                <a:lnTo>
                  <a:pt x="7233" y="2411"/>
                </a:lnTo>
                <a:lnTo>
                  <a:pt x="7172" y="2338"/>
                </a:lnTo>
                <a:close/>
                <a:moveTo>
                  <a:pt x="7172" y="2093"/>
                </a:moveTo>
                <a:lnTo>
                  <a:pt x="7233" y="2019"/>
                </a:lnTo>
                <a:lnTo>
                  <a:pt x="7233" y="2166"/>
                </a:lnTo>
                <a:lnTo>
                  <a:pt x="7172" y="2093"/>
                </a:lnTo>
                <a:close/>
                <a:moveTo>
                  <a:pt x="7172" y="1848"/>
                </a:moveTo>
                <a:lnTo>
                  <a:pt x="7233" y="1775"/>
                </a:lnTo>
                <a:lnTo>
                  <a:pt x="7233" y="1921"/>
                </a:lnTo>
                <a:lnTo>
                  <a:pt x="7172" y="1848"/>
                </a:lnTo>
                <a:close/>
                <a:moveTo>
                  <a:pt x="7196" y="526"/>
                </a:moveTo>
                <a:lnTo>
                  <a:pt x="7147" y="587"/>
                </a:lnTo>
                <a:lnTo>
                  <a:pt x="7099" y="526"/>
                </a:lnTo>
                <a:lnTo>
                  <a:pt x="7196" y="526"/>
                </a:lnTo>
                <a:close/>
                <a:moveTo>
                  <a:pt x="7099" y="490"/>
                </a:moveTo>
                <a:lnTo>
                  <a:pt x="7147" y="428"/>
                </a:lnTo>
                <a:lnTo>
                  <a:pt x="7196" y="490"/>
                </a:lnTo>
                <a:lnTo>
                  <a:pt x="7099" y="490"/>
                </a:lnTo>
                <a:close/>
                <a:moveTo>
                  <a:pt x="7221" y="538"/>
                </a:moveTo>
                <a:lnTo>
                  <a:pt x="7221" y="661"/>
                </a:lnTo>
                <a:lnTo>
                  <a:pt x="7172" y="600"/>
                </a:lnTo>
                <a:lnTo>
                  <a:pt x="7221" y="538"/>
                </a:lnTo>
                <a:close/>
                <a:moveTo>
                  <a:pt x="7196" y="673"/>
                </a:moveTo>
                <a:lnTo>
                  <a:pt x="7099" y="673"/>
                </a:lnTo>
                <a:lnTo>
                  <a:pt x="7147" y="624"/>
                </a:lnTo>
                <a:lnTo>
                  <a:pt x="7196" y="673"/>
                </a:lnTo>
                <a:close/>
                <a:moveTo>
                  <a:pt x="7209" y="1297"/>
                </a:moveTo>
                <a:lnTo>
                  <a:pt x="7147" y="1358"/>
                </a:lnTo>
                <a:lnTo>
                  <a:pt x="7099" y="1297"/>
                </a:lnTo>
                <a:lnTo>
                  <a:pt x="7209" y="1297"/>
                </a:lnTo>
                <a:close/>
                <a:moveTo>
                  <a:pt x="7099" y="1261"/>
                </a:moveTo>
                <a:lnTo>
                  <a:pt x="7147" y="1212"/>
                </a:lnTo>
                <a:lnTo>
                  <a:pt x="7196" y="1261"/>
                </a:lnTo>
                <a:lnTo>
                  <a:pt x="7099" y="1261"/>
                </a:lnTo>
                <a:close/>
                <a:moveTo>
                  <a:pt x="7196" y="1444"/>
                </a:moveTo>
                <a:lnTo>
                  <a:pt x="7099" y="1444"/>
                </a:lnTo>
                <a:lnTo>
                  <a:pt x="7147" y="1395"/>
                </a:lnTo>
                <a:lnTo>
                  <a:pt x="7196" y="1444"/>
                </a:lnTo>
                <a:close/>
                <a:moveTo>
                  <a:pt x="7209" y="1481"/>
                </a:moveTo>
                <a:lnTo>
                  <a:pt x="7147" y="1542"/>
                </a:lnTo>
                <a:lnTo>
                  <a:pt x="7099" y="1481"/>
                </a:lnTo>
                <a:lnTo>
                  <a:pt x="7209" y="1481"/>
                </a:lnTo>
                <a:close/>
                <a:moveTo>
                  <a:pt x="7221" y="1505"/>
                </a:moveTo>
                <a:lnTo>
                  <a:pt x="7221" y="1615"/>
                </a:lnTo>
                <a:lnTo>
                  <a:pt x="7172" y="1567"/>
                </a:lnTo>
                <a:lnTo>
                  <a:pt x="7221" y="1505"/>
                </a:lnTo>
                <a:close/>
                <a:moveTo>
                  <a:pt x="7172" y="1371"/>
                </a:moveTo>
                <a:lnTo>
                  <a:pt x="7221" y="1322"/>
                </a:lnTo>
                <a:lnTo>
                  <a:pt x="7221" y="1432"/>
                </a:lnTo>
                <a:lnTo>
                  <a:pt x="7172" y="1371"/>
                </a:lnTo>
                <a:close/>
                <a:moveTo>
                  <a:pt x="7172" y="1187"/>
                </a:moveTo>
                <a:lnTo>
                  <a:pt x="7221" y="1126"/>
                </a:lnTo>
                <a:lnTo>
                  <a:pt x="7221" y="1248"/>
                </a:lnTo>
                <a:lnTo>
                  <a:pt x="7172" y="1187"/>
                </a:lnTo>
                <a:close/>
                <a:moveTo>
                  <a:pt x="7147" y="1175"/>
                </a:moveTo>
                <a:lnTo>
                  <a:pt x="7099" y="1114"/>
                </a:lnTo>
                <a:lnTo>
                  <a:pt x="7209" y="1114"/>
                </a:lnTo>
                <a:lnTo>
                  <a:pt x="7147" y="1175"/>
                </a:lnTo>
                <a:close/>
                <a:moveTo>
                  <a:pt x="7099" y="1077"/>
                </a:moveTo>
                <a:lnTo>
                  <a:pt x="7135" y="1028"/>
                </a:lnTo>
                <a:lnTo>
                  <a:pt x="7160" y="1028"/>
                </a:lnTo>
                <a:lnTo>
                  <a:pt x="7196" y="1077"/>
                </a:lnTo>
                <a:lnTo>
                  <a:pt x="7099" y="1077"/>
                </a:lnTo>
                <a:close/>
                <a:moveTo>
                  <a:pt x="7111" y="1028"/>
                </a:moveTo>
                <a:lnTo>
                  <a:pt x="7074" y="1065"/>
                </a:lnTo>
                <a:lnTo>
                  <a:pt x="7074" y="1028"/>
                </a:lnTo>
                <a:lnTo>
                  <a:pt x="7111" y="1028"/>
                </a:lnTo>
                <a:close/>
                <a:moveTo>
                  <a:pt x="7135" y="1187"/>
                </a:moveTo>
                <a:lnTo>
                  <a:pt x="7074" y="1248"/>
                </a:lnTo>
                <a:lnTo>
                  <a:pt x="7074" y="1126"/>
                </a:lnTo>
                <a:lnTo>
                  <a:pt x="7135" y="1187"/>
                </a:lnTo>
                <a:close/>
                <a:moveTo>
                  <a:pt x="7135" y="1371"/>
                </a:moveTo>
                <a:lnTo>
                  <a:pt x="7074" y="1432"/>
                </a:lnTo>
                <a:lnTo>
                  <a:pt x="7074" y="1310"/>
                </a:lnTo>
                <a:lnTo>
                  <a:pt x="7135" y="1371"/>
                </a:lnTo>
                <a:close/>
                <a:moveTo>
                  <a:pt x="7135" y="1567"/>
                </a:moveTo>
                <a:lnTo>
                  <a:pt x="7074" y="1628"/>
                </a:lnTo>
                <a:lnTo>
                  <a:pt x="7074" y="1505"/>
                </a:lnTo>
                <a:lnTo>
                  <a:pt x="7135" y="1567"/>
                </a:lnTo>
                <a:close/>
                <a:moveTo>
                  <a:pt x="7147" y="1579"/>
                </a:moveTo>
                <a:lnTo>
                  <a:pt x="7221" y="1652"/>
                </a:lnTo>
                <a:lnTo>
                  <a:pt x="7221" y="1701"/>
                </a:lnTo>
                <a:lnTo>
                  <a:pt x="7074" y="1701"/>
                </a:lnTo>
                <a:lnTo>
                  <a:pt x="7074" y="1664"/>
                </a:lnTo>
                <a:lnTo>
                  <a:pt x="7147" y="1579"/>
                </a:lnTo>
                <a:close/>
                <a:moveTo>
                  <a:pt x="7221" y="1065"/>
                </a:moveTo>
                <a:lnTo>
                  <a:pt x="7196" y="1028"/>
                </a:lnTo>
                <a:lnTo>
                  <a:pt x="7221" y="1028"/>
                </a:lnTo>
                <a:lnTo>
                  <a:pt x="7221" y="1065"/>
                </a:lnTo>
                <a:close/>
                <a:moveTo>
                  <a:pt x="7221" y="477"/>
                </a:moveTo>
                <a:lnTo>
                  <a:pt x="7172" y="416"/>
                </a:lnTo>
                <a:lnTo>
                  <a:pt x="7221" y="355"/>
                </a:lnTo>
                <a:lnTo>
                  <a:pt x="7221" y="477"/>
                </a:lnTo>
                <a:close/>
                <a:moveTo>
                  <a:pt x="7209" y="343"/>
                </a:moveTo>
                <a:lnTo>
                  <a:pt x="7147" y="392"/>
                </a:lnTo>
                <a:lnTo>
                  <a:pt x="7099" y="343"/>
                </a:lnTo>
                <a:lnTo>
                  <a:pt x="7209" y="343"/>
                </a:lnTo>
                <a:close/>
                <a:moveTo>
                  <a:pt x="7074" y="355"/>
                </a:moveTo>
                <a:lnTo>
                  <a:pt x="7135" y="416"/>
                </a:lnTo>
                <a:lnTo>
                  <a:pt x="7074" y="477"/>
                </a:lnTo>
                <a:lnTo>
                  <a:pt x="7074" y="355"/>
                </a:lnTo>
                <a:close/>
                <a:moveTo>
                  <a:pt x="7074" y="538"/>
                </a:moveTo>
                <a:lnTo>
                  <a:pt x="7135" y="600"/>
                </a:lnTo>
                <a:lnTo>
                  <a:pt x="7074" y="661"/>
                </a:lnTo>
                <a:lnTo>
                  <a:pt x="7074" y="538"/>
                </a:lnTo>
                <a:close/>
                <a:moveTo>
                  <a:pt x="7209" y="1750"/>
                </a:moveTo>
                <a:lnTo>
                  <a:pt x="7147" y="1824"/>
                </a:lnTo>
                <a:lnTo>
                  <a:pt x="7074" y="1750"/>
                </a:lnTo>
                <a:lnTo>
                  <a:pt x="7209" y="1750"/>
                </a:lnTo>
                <a:close/>
                <a:moveTo>
                  <a:pt x="7050" y="1775"/>
                </a:moveTo>
                <a:lnTo>
                  <a:pt x="7123" y="1848"/>
                </a:lnTo>
                <a:lnTo>
                  <a:pt x="7050" y="1934"/>
                </a:lnTo>
                <a:lnTo>
                  <a:pt x="7050" y="1775"/>
                </a:lnTo>
                <a:close/>
                <a:moveTo>
                  <a:pt x="7050" y="2019"/>
                </a:moveTo>
                <a:lnTo>
                  <a:pt x="7123" y="2093"/>
                </a:lnTo>
                <a:lnTo>
                  <a:pt x="7050" y="2178"/>
                </a:lnTo>
                <a:lnTo>
                  <a:pt x="7050" y="2019"/>
                </a:lnTo>
                <a:close/>
                <a:moveTo>
                  <a:pt x="7050" y="2264"/>
                </a:moveTo>
                <a:lnTo>
                  <a:pt x="7123" y="2338"/>
                </a:lnTo>
                <a:lnTo>
                  <a:pt x="7050" y="2423"/>
                </a:lnTo>
                <a:lnTo>
                  <a:pt x="7050" y="2264"/>
                </a:lnTo>
                <a:close/>
                <a:moveTo>
                  <a:pt x="7050" y="2497"/>
                </a:moveTo>
                <a:lnTo>
                  <a:pt x="7123" y="2582"/>
                </a:lnTo>
                <a:lnTo>
                  <a:pt x="7050" y="2656"/>
                </a:lnTo>
                <a:lnTo>
                  <a:pt x="7050" y="2497"/>
                </a:lnTo>
                <a:close/>
                <a:moveTo>
                  <a:pt x="7050" y="2705"/>
                </a:moveTo>
                <a:lnTo>
                  <a:pt x="7050" y="2705"/>
                </a:lnTo>
                <a:lnTo>
                  <a:pt x="7147" y="2607"/>
                </a:lnTo>
                <a:lnTo>
                  <a:pt x="7233" y="2705"/>
                </a:lnTo>
                <a:lnTo>
                  <a:pt x="7233" y="2741"/>
                </a:lnTo>
                <a:lnTo>
                  <a:pt x="7050" y="2741"/>
                </a:lnTo>
                <a:lnTo>
                  <a:pt x="7050" y="2705"/>
                </a:lnTo>
                <a:close/>
                <a:moveTo>
                  <a:pt x="7209" y="2986"/>
                </a:moveTo>
                <a:lnTo>
                  <a:pt x="7086" y="2986"/>
                </a:lnTo>
                <a:lnTo>
                  <a:pt x="7147" y="2913"/>
                </a:lnTo>
                <a:lnTo>
                  <a:pt x="7209" y="2986"/>
                </a:lnTo>
                <a:close/>
                <a:moveTo>
                  <a:pt x="7074" y="2790"/>
                </a:moveTo>
                <a:lnTo>
                  <a:pt x="7209" y="2790"/>
                </a:lnTo>
                <a:lnTo>
                  <a:pt x="7147" y="2864"/>
                </a:lnTo>
                <a:lnTo>
                  <a:pt x="7074" y="2790"/>
                </a:lnTo>
                <a:close/>
                <a:moveTo>
                  <a:pt x="7209" y="3035"/>
                </a:moveTo>
                <a:lnTo>
                  <a:pt x="7147" y="3109"/>
                </a:lnTo>
                <a:lnTo>
                  <a:pt x="7074" y="3035"/>
                </a:lnTo>
                <a:lnTo>
                  <a:pt x="7209" y="3035"/>
                </a:lnTo>
                <a:close/>
                <a:moveTo>
                  <a:pt x="7209" y="3231"/>
                </a:moveTo>
                <a:lnTo>
                  <a:pt x="7086" y="3231"/>
                </a:lnTo>
                <a:lnTo>
                  <a:pt x="7147" y="3158"/>
                </a:lnTo>
                <a:lnTo>
                  <a:pt x="7209" y="3231"/>
                </a:lnTo>
                <a:close/>
                <a:moveTo>
                  <a:pt x="7209" y="3280"/>
                </a:moveTo>
                <a:lnTo>
                  <a:pt x="7147" y="3353"/>
                </a:lnTo>
                <a:lnTo>
                  <a:pt x="7074" y="3280"/>
                </a:lnTo>
                <a:lnTo>
                  <a:pt x="7209" y="3280"/>
                </a:lnTo>
                <a:close/>
                <a:moveTo>
                  <a:pt x="7209" y="3476"/>
                </a:moveTo>
                <a:lnTo>
                  <a:pt x="7086" y="3476"/>
                </a:lnTo>
                <a:lnTo>
                  <a:pt x="7147" y="3402"/>
                </a:lnTo>
                <a:lnTo>
                  <a:pt x="7209" y="3476"/>
                </a:lnTo>
                <a:close/>
                <a:moveTo>
                  <a:pt x="7209" y="3525"/>
                </a:moveTo>
                <a:lnTo>
                  <a:pt x="7147" y="3598"/>
                </a:lnTo>
                <a:lnTo>
                  <a:pt x="7074" y="3525"/>
                </a:lnTo>
                <a:lnTo>
                  <a:pt x="7209" y="3525"/>
                </a:lnTo>
                <a:close/>
                <a:moveTo>
                  <a:pt x="7233" y="3549"/>
                </a:moveTo>
                <a:lnTo>
                  <a:pt x="7233" y="3696"/>
                </a:lnTo>
                <a:lnTo>
                  <a:pt x="7172" y="3623"/>
                </a:lnTo>
                <a:lnTo>
                  <a:pt x="7233" y="3549"/>
                </a:lnTo>
                <a:close/>
                <a:moveTo>
                  <a:pt x="7172" y="3378"/>
                </a:moveTo>
                <a:lnTo>
                  <a:pt x="7233" y="3304"/>
                </a:lnTo>
                <a:lnTo>
                  <a:pt x="7233" y="3451"/>
                </a:lnTo>
                <a:lnTo>
                  <a:pt x="7172" y="3378"/>
                </a:lnTo>
                <a:close/>
                <a:moveTo>
                  <a:pt x="7172" y="3133"/>
                </a:moveTo>
                <a:lnTo>
                  <a:pt x="7233" y="3060"/>
                </a:lnTo>
                <a:lnTo>
                  <a:pt x="7233" y="3207"/>
                </a:lnTo>
                <a:lnTo>
                  <a:pt x="7172" y="3133"/>
                </a:lnTo>
                <a:close/>
                <a:moveTo>
                  <a:pt x="7172" y="2888"/>
                </a:moveTo>
                <a:lnTo>
                  <a:pt x="7233" y="2815"/>
                </a:lnTo>
                <a:lnTo>
                  <a:pt x="7233" y="2962"/>
                </a:lnTo>
                <a:lnTo>
                  <a:pt x="7172" y="2888"/>
                </a:lnTo>
                <a:close/>
                <a:moveTo>
                  <a:pt x="7050" y="2815"/>
                </a:moveTo>
                <a:lnTo>
                  <a:pt x="7123" y="2888"/>
                </a:lnTo>
                <a:lnTo>
                  <a:pt x="7050" y="2974"/>
                </a:lnTo>
                <a:lnTo>
                  <a:pt x="7050" y="2815"/>
                </a:lnTo>
                <a:close/>
                <a:moveTo>
                  <a:pt x="7050" y="3060"/>
                </a:moveTo>
                <a:lnTo>
                  <a:pt x="7123" y="3133"/>
                </a:lnTo>
                <a:lnTo>
                  <a:pt x="7050" y="3219"/>
                </a:lnTo>
                <a:lnTo>
                  <a:pt x="7050" y="3060"/>
                </a:lnTo>
                <a:close/>
                <a:moveTo>
                  <a:pt x="7050" y="3292"/>
                </a:moveTo>
                <a:lnTo>
                  <a:pt x="7123" y="3378"/>
                </a:lnTo>
                <a:lnTo>
                  <a:pt x="7050" y="3451"/>
                </a:lnTo>
                <a:lnTo>
                  <a:pt x="7050" y="3292"/>
                </a:lnTo>
                <a:close/>
                <a:moveTo>
                  <a:pt x="7050" y="3537"/>
                </a:moveTo>
                <a:lnTo>
                  <a:pt x="7123" y="3623"/>
                </a:lnTo>
                <a:lnTo>
                  <a:pt x="7050" y="3696"/>
                </a:lnTo>
                <a:lnTo>
                  <a:pt x="7050" y="3537"/>
                </a:lnTo>
                <a:close/>
                <a:moveTo>
                  <a:pt x="7050" y="3806"/>
                </a:moveTo>
                <a:lnTo>
                  <a:pt x="7050" y="3745"/>
                </a:lnTo>
                <a:lnTo>
                  <a:pt x="7050" y="3745"/>
                </a:lnTo>
                <a:lnTo>
                  <a:pt x="7147" y="3647"/>
                </a:lnTo>
                <a:lnTo>
                  <a:pt x="7233" y="3745"/>
                </a:lnTo>
                <a:lnTo>
                  <a:pt x="7233" y="3806"/>
                </a:lnTo>
                <a:lnTo>
                  <a:pt x="7282" y="3806"/>
                </a:lnTo>
                <a:lnTo>
                  <a:pt x="7282" y="3818"/>
                </a:lnTo>
                <a:lnTo>
                  <a:pt x="7050" y="3818"/>
                </a:lnTo>
                <a:lnTo>
                  <a:pt x="7050" y="3806"/>
                </a:lnTo>
                <a:lnTo>
                  <a:pt x="7050" y="3806"/>
                </a:lnTo>
                <a:close/>
                <a:moveTo>
                  <a:pt x="6389" y="1383"/>
                </a:moveTo>
                <a:lnTo>
                  <a:pt x="6621" y="1383"/>
                </a:lnTo>
                <a:lnTo>
                  <a:pt x="6621" y="1493"/>
                </a:lnTo>
                <a:lnTo>
                  <a:pt x="6389" y="1493"/>
                </a:lnTo>
                <a:lnTo>
                  <a:pt x="6389" y="1383"/>
                </a:lnTo>
                <a:close/>
                <a:moveTo>
                  <a:pt x="6389" y="1554"/>
                </a:moveTo>
                <a:lnTo>
                  <a:pt x="6621" y="1554"/>
                </a:lnTo>
                <a:lnTo>
                  <a:pt x="6621" y="1664"/>
                </a:lnTo>
                <a:lnTo>
                  <a:pt x="6389" y="1664"/>
                </a:lnTo>
                <a:lnTo>
                  <a:pt x="6389" y="1554"/>
                </a:lnTo>
                <a:close/>
                <a:moveTo>
                  <a:pt x="6389" y="1713"/>
                </a:moveTo>
                <a:lnTo>
                  <a:pt x="6621" y="1713"/>
                </a:lnTo>
                <a:lnTo>
                  <a:pt x="6621" y="1824"/>
                </a:lnTo>
                <a:lnTo>
                  <a:pt x="6389" y="1824"/>
                </a:lnTo>
                <a:lnTo>
                  <a:pt x="6389" y="1713"/>
                </a:lnTo>
                <a:close/>
                <a:moveTo>
                  <a:pt x="6389" y="1885"/>
                </a:moveTo>
                <a:lnTo>
                  <a:pt x="6621" y="1885"/>
                </a:lnTo>
                <a:lnTo>
                  <a:pt x="6621" y="1995"/>
                </a:lnTo>
                <a:lnTo>
                  <a:pt x="6389" y="1995"/>
                </a:lnTo>
                <a:lnTo>
                  <a:pt x="6389" y="1885"/>
                </a:lnTo>
                <a:close/>
                <a:moveTo>
                  <a:pt x="6389" y="2044"/>
                </a:moveTo>
                <a:lnTo>
                  <a:pt x="6621" y="2044"/>
                </a:lnTo>
                <a:lnTo>
                  <a:pt x="6621" y="2154"/>
                </a:lnTo>
                <a:lnTo>
                  <a:pt x="6389" y="2154"/>
                </a:lnTo>
                <a:lnTo>
                  <a:pt x="6389" y="2044"/>
                </a:lnTo>
                <a:close/>
                <a:moveTo>
                  <a:pt x="6389" y="2215"/>
                </a:moveTo>
                <a:lnTo>
                  <a:pt x="6621" y="2215"/>
                </a:lnTo>
                <a:lnTo>
                  <a:pt x="6621" y="2325"/>
                </a:lnTo>
                <a:lnTo>
                  <a:pt x="6389" y="2325"/>
                </a:lnTo>
                <a:lnTo>
                  <a:pt x="6389" y="2215"/>
                </a:lnTo>
                <a:close/>
                <a:moveTo>
                  <a:pt x="6389" y="2374"/>
                </a:moveTo>
                <a:lnTo>
                  <a:pt x="6621" y="2374"/>
                </a:lnTo>
                <a:lnTo>
                  <a:pt x="6621" y="2484"/>
                </a:lnTo>
                <a:lnTo>
                  <a:pt x="6389" y="2484"/>
                </a:lnTo>
                <a:lnTo>
                  <a:pt x="6389" y="2374"/>
                </a:lnTo>
                <a:close/>
                <a:moveTo>
                  <a:pt x="6389" y="2546"/>
                </a:moveTo>
                <a:lnTo>
                  <a:pt x="6621" y="2546"/>
                </a:lnTo>
                <a:lnTo>
                  <a:pt x="6621" y="2656"/>
                </a:lnTo>
                <a:lnTo>
                  <a:pt x="6389" y="2656"/>
                </a:lnTo>
                <a:lnTo>
                  <a:pt x="6389" y="2546"/>
                </a:lnTo>
                <a:close/>
                <a:moveTo>
                  <a:pt x="6389" y="2705"/>
                </a:moveTo>
                <a:lnTo>
                  <a:pt x="6621" y="2705"/>
                </a:lnTo>
                <a:lnTo>
                  <a:pt x="6621" y="2815"/>
                </a:lnTo>
                <a:lnTo>
                  <a:pt x="6389" y="2815"/>
                </a:lnTo>
                <a:lnTo>
                  <a:pt x="6389" y="2705"/>
                </a:lnTo>
                <a:close/>
                <a:moveTo>
                  <a:pt x="6389" y="2876"/>
                </a:moveTo>
                <a:lnTo>
                  <a:pt x="6621" y="2876"/>
                </a:lnTo>
                <a:lnTo>
                  <a:pt x="6621" y="2974"/>
                </a:lnTo>
                <a:lnTo>
                  <a:pt x="6389" y="2974"/>
                </a:lnTo>
                <a:lnTo>
                  <a:pt x="6389" y="2876"/>
                </a:lnTo>
                <a:close/>
                <a:moveTo>
                  <a:pt x="5985" y="1383"/>
                </a:moveTo>
                <a:lnTo>
                  <a:pt x="6217" y="1383"/>
                </a:lnTo>
                <a:lnTo>
                  <a:pt x="6217" y="1493"/>
                </a:lnTo>
                <a:lnTo>
                  <a:pt x="5985" y="1493"/>
                </a:lnTo>
                <a:lnTo>
                  <a:pt x="5985" y="1383"/>
                </a:lnTo>
                <a:close/>
                <a:moveTo>
                  <a:pt x="5985" y="1554"/>
                </a:moveTo>
                <a:lnTo>
                  <a:pt x="6217" y="1554"/>
                </a:lnTo>
                <a:lnTo>
                  <a:pt x="6217" y="1664"/>
                </a:lnTo>
                <a:lnTo>
                  <a:pt x="5985" y="1664"/>
                </a:lnTo>
                <a:lnTo>
                  <a:pt x="5985" y="1554"/>
                </a:lnTo>
                <a:close/>
                <a:moveTo>
                  <a:pt x="5985" y="1713"/>
                </a:moveTo>
                <a:lnTo>
                  <a:pt x="6217" y="1713"/>
                </a:lnTo>
                <a:lnTo>
                  <a:pt x="6217" y="1824"/>
                </a:lnTo>
                <a:lnTo>
                  <a:pt x="5985" y="1824"/>
                </a:lnTo>
                <a:lnTo>
                  <a:pt x="5985" y="1713"/>
                </a:lnTo>
                <a:close/>
                <a:moveTo>
                  <a:pt x="5985" y="1885"/>
                </a:moveTo>
                <a:lnTo>
                  <a:pt x="6217" y="1885"/>
                </a:lnTo>
                <a:lnTo>
                  <a:pt x="6217" y="1995"/>
                </a:lnTo>
                <a:lnTo>
                  <a:pt x="5985" y="1995"/>
                </a:lnTo>
                <a:lnTo>
                  <a:pt x="5985" y="1885"/>
                </a:lnTo>
                <a:close/>
                <a:moveTo>
                  <a:pt x="5985" y="2044"/>
                </a:moveTo>
                <a:lnTo>
                  <a:pt x="6217" y="2044"/>
                </a:lnTo>
                <a:lnTo>
                  <a:pt x="6217" y="2154"/>
                </a:lnTo>
                <a:lnTo>
                  <a:pt x="5985" y="2154"/>
                </a:lnTo>
                <a:lnTo>
                  <a:pt x="5985" y="2044"/>
                </a:lnTo>
                <a:close/>
                <a:moveTo>
                  <a:pt x="5985" y="2215"/>
                </a:moveTo>
                <a:lnTo>
                  <a:pt x="6217" y="2215"/>
                </a:lnTo>
                <a:lnTo>
                  <a:pt x="6217" y="2325"/>
                </a:lnTo>
                <a:lnTo>
                  <a:pt x="5985" y="2325"/>
                </a:lnTo>
                <a:lnTo>
                  <a:pt x="5985" y="2215"/>
                </a:lnTo>
                <a:close/>
                <a:moveTo>
                  <a:pt x="5985" y="2374"/>
                </a:moveTo>
                <a:lnTo>
                  <a:pt x="6217" y="2374"/>
                </a:lnTo>
                <a:lnTo>
                  <a:pt x="6217" y="2484"/>
                </a:lnTo>
                <a:lnTo>
                  <a:pt x="5985" y="2484"/>
                </a:lnTo>
                <a:lnTo>
                  <a:pt x="5985" y="2374"/>
                </a:lnTo>
                <a:close/>
                <a:moveTo>
                  <a:pt x="5985" y="2546"/>
                </a:moveTo>
                <a:lnTo>
                  <a:pt x="6217" y="2546"/>
                </a:lnTo>
                <a:lnTo>
                  <a:pt x="6217" y="2656"/>
                </a:lnTo>
                <a:lnTo>
                  <a:pt x="5985" y="2656"/>
                </a:lnTo>
                <a:lnTo>
                  <a:pt x="5985" y="2546"/>
                </a:lnTo>
                <a:close/>
                <a:moveTo>
                  <a:pt x="5985" y="2705"/>
                </a:moveTo>
                <a:lnTo>
                  <a:pt x="6217" y="2705"/>
                </a:lnTo>
                <a:lnTo>
                  <a:pt x="6217" y="2815"/>
                </a:lnTo>
                <a:lnTo>
                  <a:pt x="5985" y="2815"/>
                </a:lnTo>
                <a:lnTo>
                  <a:pt x="5985" y="2705"/>
                </a:lnTo>
                <a:close/>
                <a:moveTo>
                  <a:pt x="5985" y="2876"/>
                </a:moveTo>
                <a:lnTo>
                  <a:pt x="6217" y="2876"/>
                </a:lnTo>
                <a:lnTo>
                  <a:pt x="6217" y="2974"/>
                </a:lnTo>
                <a:lnTo>
                  <a:pt x="5985" y="2974"/>
                </a:lnTo>
                <a:lnTo>
                  <a:pt x="5985" y="2876"/>
                </a:lnTo>
                <a:close/>
                <a:moveTo>
                  <a:pt x="5312" y="3378"/>
                </a:moveTo>
                <a:lnTo>
                  <a:pt x="5373" y="3378"/>
                </a:lnTo>
                <a:lnTo>
                  <a:pt x="5373" y="3464"/>
                </a:lnTo>
                <a:lnTo>
                  <a:pt x="5312" y="3464"/>
                </a:lnTo>
                <a:lnTo>
                  <a:pt x="5312" y="3378"/>
                </a:lnTo>
                <a:close/>
                <a:moveTo>
                  <a:pt x="5312" y="3500"/>
                </a:moveTo>
                <a:lnTo>
                  <a:pt x="5373" y="3500"/>
                </a:lnTo>
                <a:lnTo>
                  <a:pt x="5373" y="3525"/>
                </a:lnTo>
                <a:lnTo>
                  <a:pt x="5312" y="3525"/>
                </a:lnTo>
                <a:lnTo>
                  <a:pt x="5312" y="3500"/>
                </a:lnTo>
                <a:close/>
                <a:moveTo>
                  <a:pt x="5312" y="3549"/>
                </a:moveTo>
                <a:lnTo>
                  <a:pt x="5373" y="3549"/>
                </a:lnTo>
                <a:lnTo>
                  <a:pt x="5373" y="3549"/>
                </a:lnTo>
                <a:lnTo>
                  <a:pt x="5312" y="3549"/>
                </a:lnTo>
                <a:lnTo>
                  <a:pt x="5312" y="3549"/>
                </a:lnTo>
                <a:close/>
                <a:moveTo>
                  <a:pt x="5312" y="3586"/>
                </a:moveTo>
                <a:lnTo>
                  <a:pt x="5373" y="3586"/>
                </a:lnTo>
                <a:lnTo>
                  <a:pt x="5373" y="3659"/>
                </a:lnTo>
                <a:lnTo>
                  <a:pt x="5312" y="3659"/>
                </a:lnTo>
                <a:lnTo>
                  <a:pt x="5312" y="3586"/>
                </a:lnTo>
                <a:close/>
                <a:moveTo>
                  <a:pt x="5312" y="3708"/>
                </a:moveTo>
                <a:lnTo>
                  <a:pt x="5373" y="3708"/>
                </a:lnTo>
                <a:lnTo>
                  <a:pt x="5373" y="3745"/>
                </a:lnTo>
                <a:lnTo>
                  <a:pt x="5312" y="3745"/>
                </a:lnTo>
                <a:lnTo>
                  <a:pt x="5312" y="3708"/>
                </a:lnTo>
                <a:close/>
                <a:moveTo>
                  <a:pt x="5373" y="3782"/>
                </a:moveTo>
                <a:lnTo>
                  <a:pt x="5373" y="3818"/>
                </a:lnTo>
                <a:lnTo>
                  <a:pt x="5312" y="3818"/>
                </a:lnTo>
                <a:lnTo>
                  <a:pt x="5312" y="3782"/>
                </a:lnTo>
                <a:lnTo>
                  <a:pt x="5373" y="3782"/>
                </a:lnTo>
                <a:close/>
                <a:moveTo>
                  <a:pt x="5275" y="3549"/>
                </a:moveTo>
                <a:lnTo>
                  <a:pt x="5275" y="3549"/>
                </a:lnTo>
                <a:lnTo>
                  <a:pt x="5238" y="3549"/>
                </a:lnTo>
                <a:lnTo>
                  <a:pt x="5238" y="3549"/>
                </a:lnTo>
                <a:lnTo>
                  <a:pt x="5275" y="3549"/>
                </a:lnTo>
                <a:close/>
                <a:moveTo>
                  <a:pt x="5238" y="3525"/>
                </a:moveTo>
                <a:lnTo>
                  <a:pt x="5238" y="3500"/>
                </a:lnTo>
                <a:lnTo>
                  <a:pt x="5275" y="3500"/>
                </a:lnTo>
                <a:lnTo>
                  <a:pt x="5275" y="3525"/>
                </a:lnTo>
                <a:lnTo>
                  <a:pt x="5238" y="3525"/>
                </a:lnTo>
                <a:close/>
                <a:moveTo>
                  <a:pt x="5275" y="3586"/>
                </a:moveTo>
                <a:lnTo>
                  <a:pt x="5275" y="3659"/>
                </a:lnTo>
                <a:lnTo>
                  <a:pt x="5238" y="3659"/>
                </a:lnTo>
                <a:lnTo>
                  <a:pt x="5238" y="3586"/>
                </a:lnTo>
                <a:lnTo>
                  <a:pt x="5275" y="3586"/>
                </a:lnTo>
                <a:close/>
                <a:moveTo>
                  <a:pt x="5275" y="3708"/>
                </a:moveTo>
                <a:lnTo>
                  <a:pt x="5275" y="3745"/>
                </a:lnTo>
                <a:lnTo>
                  <a:pt x="5238" y="3745"/>
                </a:lnTo>
                <a:lnTo>
                  <a:pt x="5238" y="3708"/>
                </a:lnTo>
                <a:lnTo>
                  <a:pt x="5275" y="3708"/>
                </a:lnTo>
                <a:close/>
                <a:moveTo>
                  <a:pt x="5275" y="3782"/>
                </a:moveTo>
                <a:lnTo>
                  <a:pt x="5275" y="3818"/>
                </a:lnTo>
                <a:lnTo>
                  <a:pt x="5238" y="3818"/>
                </a:lnTo>
                <a:lnTo>
                  <a:pt x="5238" y="3782"/>
                </a:lnTo>
                <a:lnTo>
                  <a:pt x="5275" y="3782"/>
                </a:lnTo>
                <a:close/>
                <a:moveTo>
                  <a:pt x="5189" y="3047"/>
                </a:moveTo>
                <a:lnTo>
                  <a:pt x="5275" y="3047"/>
                </a:lnTo>
                <a:lnTo>
                  <a:pt x="5275" y="3182"/>
                </a:lnTo>
                <a:lnTo>
                  <a:pt x="5189" y="3182"/>
                </a:lnTo>
                <a:lnTo>
                  <a:pt x="5189" y="3047"/>
                </a:lnTo>
                <a:close/>
                <a:moveTo>
                  <a:pt x="5189" y="3207"/>
                </a:moveTo>
                <a:lnTo>
                  <a:pt x="5275" y="3207"/>
                </a:lnTo>
                <a:lnTo>
                  <a:pt x="5275" y="3341"/>
                </a:lnTo>
                <a:lnTo>
                  <a:pt x="5189" y="3341"/>
                </a:lnTo>
                <a:lnTo>
                  <a:pt x="5189" y="3207"/>
                </a:lnTo>
                <a:close/>
                <a:moveTo>
                  <a:pt x="5189" y="3378"/>
                </a:moveTo>
                <a:lnTo>
                  <a:pt x="5275" y="3378"/>
                </a:lnTo>
                <a:lnTo>
                  <a:pt x="5275" y="3464"/>
                </a:lnTo>
                <a:lnTo>
                  <a:pt x="5238" y="3464"/>
                </a:lnTo>
                <a:lnTo>
                  <a:pt x="5238" y="3427"/>
                </a:lnTo>
                <a:lnTo>
                  <a:pt x="5201" y="3427"/>
                </a:lnTo>
                <a:lnTo>
                  <a:pt x="5201" y="3464"/>
                </a:lnTo>
                <a:lnTo>
                  <a:pt x="5189" y="3464"/>
                </a:lnTo>
                <a:lnTo>
                  <a:pt x="5189" y="3378"/>
                </a:lnTo>
                <a:close/>
                <a:moveTo>
                  <a:pt x="5189" y="3500"/>
                </a:moveTo>
                <a:lnTo>
                  <a:pt x="5201" y="3500"/>
                </a:lnTo>
                <a:lnTo>
                  <a:pt x="5201" y="3525"/>
                </a:lnTo>
                <a:lnTo>
                  <a:pt x="5189" y="3525"/>
                </a:lnTo>
                <a:lnTo>
                  <a:pt x="5189" y="3500"/>
                </a:lnTo>
                <a:close/>
                <a:moveTo>
                  <a:pt x="5189" y="3549"/>
                </a:moveTo>
                <a:lnTo>
                  <a:pt x="5201" y="3549"/>
                </a:lnTo>
                <a:lnTo>
                  <a:pt x="5201" y="3549"/>
                </a:lnTo>
                <a:lnTo>
                  <a:pt x="5189" y="3549"/>
                </a:lnTo>
                <a:lnTo>
                  <a:pt x="5189" y="3549"/>
                </a:lnTo>
                <a:close/>
                <a:moveTo>
                  <a:pt x="5189" y="3586"/>
                </a:moveTo>
                <a:lnTo>
                  <a:pt x="5201" y="3586"/>
                </a:lnTo>
                <a:lnTo>
                  <a:pt x="5201" y="3659"/>
                </a:lnTo>
                <a:lnTo>
                  <a:pt x="5189" y="3659"/>
                </a:lnTo>
                <a:lnTo>
                  <a:pt x="5189" y="3586"/>
                </a:lnTo>
                <a:close/>
                <a:moveTo>
                  <a:pt x="5189" y="3708"/>
                </a:moveTo>
                <a:lnTo>
                  <a:pt x="5201" y="3708"/>
                </a:lnTo>
                <a:lnTo>
                  <a:pt x="5201" y="3745"/>
                </a:lnTo>
                <a:lnTo>
                  <a:pt x="5189" y="3745"/>
                </a:lnTo>
                <a:lnTo>
                  <a:pt x="5189" y="3708"/>
                </a:lnTo>
                <a:close/>
                <a:moveTo>
                  <a:pt x="5201" y="3782"/>
                </a:moveTo>
                <a:lnTo>
                  <a:pt x="5201" y="3818"/>
                </a:lnTo>
                <a:lnTo>
                  <a:pt x="5189" y="3818"/>
                </a:lnTo>
                <a:lnTo>
                  <a:pt x="5189" y="3782"/>
                </a:lnTo>
                <a:lnTo>
                  <a:pt x="5201" y="3782"/>
                </a:lnTo>
                <a:close/>
                <a:moveTo>
                  <a:pt x="5153" y="3207"/>
                </a:moveTo>
                <a:lnTo>
                  <a:pt x="5153" y="3341"/>
                </a:lnTo>
                <a:lnTo>
                  <a:pt x="4969" y="3341"/>
                </a:lnTo>
                <a:lnTo>
                  <a:pt x="4969" y="3207"/>
                </a:lnTo>
                <a:lnTo>
                  <a:pt x="5153" y="3207"/>
                </a:lnTo>
                <a:close/>
                <a:moveTo>
                  <a:pt x="4969" y="3182"/>
                </a:moveTo>
                <a:lnTo>
                  <a:pt x="4969" y="3047"/>
                </a:lnTo>
                <a:lnTo>
                  <a:pt x="5153" y="3047"/>
                </a:lnTo>
                <a:lnTo>
                  <a:pt x="5153" y="3182"/>
                </a:lnTo>
                <a:lnTo>
                  <a:pt x="4969" y="3182"/>
                </a:lnTo>
                <a:close/>
                <a:moveTo>
                  <a:pt x="5153" y="3378"/>
                </a:moveTo>
                <a:lnTo>
                  <a:pt x="5153" y="3464"/>
                </a:lnTo>
                <a:lnTo>
                  <a:pt x="5067" y="3464"/>
                </a:lnTo>
                <a:lnTo>
                  <a:pt x="5067" y="3451"/>
                </a:lnTo>
                <a:lnTo>
                  <a:pt x="5030" y="3451"/>
                </a:lnTo>
                <a:lnTo>
                  <a:pt x="5030" y="3464"/>
                </a:lnTo>
                <a:lnTo>
                  <a:pt x="4969" y="3464"/>
                </a:lnTo>
                <a:lnTo>
                  <a:pt x="4969" y="3378"/>
                </a:lnTo>
                <a:lnTo>
                  <a:pt x="5153" y="3378"/>
                </a:lnTo>
                <a:close/>
                <a:moveTo>
                  <a:pt x="5067" y="3659"/>
                </a:moveTo>
                <a:lnTo>
                  <a:pt x="5067" y="3586"/>
                </a:lnTo>
                <a:lnTo>
                  <a:pt x="5153" y="3586"/>
                </a:lnTo>
                <a:lnTo>
                  <a:pt x="5153" y="3659"/>
                </a:lnTo>
                <a:lnTo>
                  <a:pt x="5067" y="3659"/>
                </a:lnTo>
                <a:close/>
                <a:moveTo>
                  <a:pt x="5153" y="3708"/>
                </a:moveTo>
                <a:lnTo>
                  <a:pt x="5153" y="3745"/>
                </a:lnTo>
                <a:lnTo>
                  <a:pt x="5067" y="3745"/>
                </a:lnTo>
                <a:lnTo>
                  <a:pt x="5067" y="3708"/>
                </a:lnTo>
                <a:lnTo>
                  <a:pt x="5153" y="3708"/>
                </a:lnTo>
                <a:close/>
                <a:moveTo>
                  <a:pt x="5067" y="3549"/>
                </a:moveTo>
                <a:lnTo>
                  <a:pt x="5067" y="3549"/>
                </a:lnTo>
                <a:lnTo>
                  <a:pt x="5153" y="3549"/>
                </a:lnTo>
                <a:lnTo>
                  <a:pt x="5153" y="3549"/>
                </a:lnTo>
                <a:lnTo>
                  <a:pt x="5067" y="3549"/>
                </a:lnTo>
                <a:close/>
                <a:moveTo>
                  <a:pt x="5067" y="3525"/>
                </a:moveTo>
                <a:lnTo>
                  <a:pt x="5067" y="3500"/>
                </a:lnTo>
                <a:lnTo>
                  <a:pt x="5153" y="3500"/>
                </a:lnTo>
                <a:lnTo>
                  <a:pt x="5153" y="3525"/>
                </a:lnTo>
                <a:lnTo>
                  <a:pt x="5067" y="3525"/>
                </a:lnTo>
                <a:close/>
                <a:moveTo>
                  <a:pt x="5030" y="3500"/>
                </a:moveTo>
                <a:lnTo>
                  <a:pt x="5030" y="3525"/>
                </a:lnTo>
                <a:lnTo>
                  <a:pt x="4969" y="3525"/>
                </a:lnTo>
                <a:lnTo>
                  <a:pt x="4969" y="3500"/>
                </a:lnTo>
                <a:lnTo>
                  <a:pt x="5030" y="3500"/>
                </a:lnTo>
                <a:close/>
                <a:moveTo>
                  <a:pt x="5030" y="3549"/>
                </a:moveTo>
                <a:lnTo>
                  <a:pt x="5030" y="3549"/>
                </a:lnTo>
                <a:lnTo>
                  <a:pt x="4969" y="3549"/>
                </a:lnTo>
                <a:lnTo>
                  <a:pt x="4969" y="3549"/>
                </a:lnTo>
                <a:lnTo>
                  <a:pt x="5030" y="3549"/>
                </a:lnTo>
                <a:close/>
                <a:moveTo>
                  <a:pt x="5030" y="3586"/>
                </a:moveTo>
                <a:lnTo>
                  <a:pt x="5030" y="3659"/>
                </a:lnTo>
                <a:lnTo>
                  <a:pt x="4969" y="3659"/>
                </a:lnTo>
                <a:lnTo>
                  <a:pt x="4969" y="3586"/>
                </a:lnTo>
                <a:lnTo>
                  <a:pt x="5030" y="3586"/>
                </a:lnTo>
                <a:close/>
                <a:moveTo>
                  <a:pt x="5030" y="3708"/>
                </a:moveTo>
                <a:lnTo>
                  <a:pt x="5030" y="3745"/>
                </a:lnTo>
                <a:lnTo>
                  <a:pt x="4969" y="3745"/>
                </a:lnTo>
                <a:lnTo>
                  <a:pt x="4969" y="3708"/>
                </a:lnTo>
                <a:lnTo>
                  <a:pt x="5030" y="3708"/>
                </a:lnTo>
                <a:close/>
                <a:moveTo>
                  <a:pt x="5030" y="3782"/>
                </a:moveTo>
                <a:lnTo>
                  <a:pt x="5030" y="3818"/>
                </a:lnTo>
                <a:lnTo>
                  <a:pt x="4969" y="3818"/>
                </a:lnTo>
                <a:lnTo>
                  <a:pt x="4969" y="3782"/>
                </a:lnTo>
                <a:lnTo>
                  <a:pt x="5030" y="3782"/>
                </a:lnTo>
                <a:close/>
                <a:moveTo>
                  <a:pt x="5067" y="3782"/>
                </a:moveTo>
                <a:lnTo>
                  <a:pt x="5153" y="3782"/>
                </a:lnTo>
                <a:lnTo>
                  <a:pt x="5153" y="3818"/>
                </a:lnTo>
                <a:lnTo>
                  <a:pt x="5067" y="3818"/>
                </a:lnTo>
                <a:lnTo>
                  <a:pt x="5067" y="3782"/>
                </a:lnTo>
                <a:close/>
                <a:moveTo>
                  <a:pt x="4957" y="1750"/>
                </a:moveTo>
                <a:lnTo>
                  <a:pt x="5128" y="1750"/>
                </a:lnTo>
                <a:lnTo>
                  <a:pt x="5128" y="1885"/>
                </a:lnTo>
                <a:lnTo>
                  <a:pt x="4957" y="1885"/>
                </a:lnTo>
                <a:lnTo>
                  <a:pt x="4957" y="1750"/>
                </a:lnTo>
                <a:close/>
                <a:moveTo>
                  <a:pt x="4957" y="1909"/>
                </a:moveTo>
                <a:lnTo>
                  <a:pt x="5128" y="1909"/>
                </a:lnTo>
                <a:lnTo>
                  <a:pt x="5128" y="2044"/>
                </a:lnTo>
                <a:lnTo>
                  <a:pt x="4957" y="2044"/>
                </a:lnTo>
                <a:lnTo>
                  <a:pt x="4957" y="1909"/>
                </a:lnTo>
                <a:close/>
                <a:moveTo>
                  <a:pt x="4957" y="2081"/>
                </a:moveTo>
                <a:lnTo>
                  <a:pt x="5128" y="2081"/>
                </a:lnTo>
                <a:lnTo>
                  <a:pt x="5128" y="2203"/>
                </a:lnTo>
                <a:lnTo>
                  <a:pt x="4957" y="2203"/>
                </a:lnTo>
                <a:lnTo>
                  <a:pt x="4957" y="2081"/>
                </a:lnTo>
                <a:close/>
                <a:moveTo>
                  <a:pt x="4957" y="2240"/>
                </a:moveTo>
                <a:lnTo>
                  <a:pt x="5128" y="2240"/>
                </a:lnTo>
                <a:lnTo>
                  <a:pt x="5128" y="2350"/>
                </a:lnTo>
                <a:lnTo>
                  <a:pt x="4957" y="2350"/>
                </a:lnTo>
                <a:lnTo>
                  <a:pt x="4957" y="2240"/>
                </a:lnTo>
                <a:close/>
                <a:moveTo>
                  <a:pt x="4957" y="2374"/>
                </a:moveTo>
                <a:lnTo>
                  <a:pt x="5128" y="2374"/>
                </a:lnTo>
                <a:lnTo>
                  <a:pt x="5128" y="2509"/>
                </a:lnTo>
                <a:lnTo>
                  <a:pt x="4957" y="2509"/>
                </a:lnTo>
                <a:lnTo>
                  <a:pt x="4957" y="2374"/>
                </a:lnTo>
                <a:close/>
                <a:moveTo>
                  <a:pt x="4957" y="2546"/>
                </a:moveTo>
                <a:lnTo>
                  <a:pt x="5128" y="2546"/>
                </a:lnTo>
                <a:lnTo>
                  <a:pt x="5128" y="2680"/>
                </a:lnTo>
                <a:lnTo>
                  <a:pt x="4957" y="2680"/>
                </a:lnTo>
                <a:lnTo>
                  <a:pt x="4957" y="2546"/>
                </a:lnTo>
                <a:close/>
                <a:moveTo>
                  <a:pt x="4957" y="2705"/>
                </a:moveTo>
                <a:lnTo>
                  <a:pt x="5128" y="2705"/>
                </a:lnTo>
                <a:lnTo>
                  <a:pt x="5128" y="2839"/>
                </a:lnTo>
                <a:lnTo>
                  <a:pt x="4957" y="2839"/>
                </a:lnTo>
                <a:lnTo>
                  <a:pt x="4957" y="2705"/>
                </a:lnTo>
                <a:close/>
                <a:moveTo>
                  <a:pt x="4957" y="2876"/>
                </a:moveTo>
                <a:lnTo>
                  <a:pt x="5128" y="2876"/>
                </a:lnTo>
                <a:lnTo>
                  <a:pt x="5128" y="3023"/>
                </a:lnTo>
                <a:lnTo>
                  <a:pt x="5153" y="3023"/>
                </a:lnTo>
                <a:lnTo>
                  <a:pt x="5153" y="3023"/>
                </a:lnTo>
                <a:lnTo>
                  <a:pt x="4969" y="3023"/>
                </a:lnTo>
                <a:lnTo>
                  <a:pt x="4969" y="2901"/>
                </a:lnTo>
                <a:lnTo>
                  <a:pt x="4957" y="2901"/>
                </a:lnTo>
                <a:lnTo>
                  <a:pt x="4957" y="2876"/>
                </a:lnTo>
                <a:close/>
                <a:moveTo>
                  <a:pt x="4847" y="1750"/>
                </a:moveTo>
                <a:lnTo>
                  <a:pt x="4932" y="1750"/>
                </a:lnTo>
                <a:lnTo>
                  <a:pt x="4932" y="1885"/>
                </a:lnTo>
                <a:lnTo>
                  <a:pt x="4847" y="1885"/>
                </a:lnTo>
                <a:lnTo>
                  <a:pt x="4847" y="1750"/>
                </a:lnTo>
                <a:close/>
                <a:moveTo>
                  <a:pt x="4847" y="1909"/>
                </a:moveTo>
                <a:lnTo>
                  <a:pt x="4932" y="1909"/>
                </a:lnTo>
                <a:lnTo>
                  <a:pt x="4932" y="2044"/>
                </a:lnTo>
                <a:lnTo>
                  <a:pt x="4847" y="2044"/>
                </a:lnTo>
                <a:lnTo>
                  <a:pt x="4847" y="1909"/>
                </a:lnTo>
                <a:close/>
                <a:moveTo>
                  <a:pt x="4847" y="2081"/>
                </a:moveTo>
                <a:lnTo>
                  <a:pt x="4932" y="2081"/>
                </a:lnTo>
                <a:lnTo>
                  <a:pt x="4932" y="2203"/>
                </a:lnTo>
                <a:lnTo>
                  <a:pt x="4847" y="2203"/>
                </a:lnTo>
                <a:lnTo>
                  <a:pt x="4847" y="2081"/>
                </a:lnTo>
                <a:close/>
                <a:moveTo>
                  <a:pt x="4847" y="2240"/>
                </a:moveTo>
                <a:lnTo>
                  <a:pt x="4932" y="2240"/>
                </a:lnTo>
                <a:lnTo>
                  <a:pt x="4932" y="2350"/>
                </a:lnTo>
                <a:lnTo>
                  <a:pt x="4847" y="2350"/>
                </a:lnTo>
                <a:lnTo>
                  <a:pt x="4847" y="2240"/>
                </a:lnTo>
                <a:close/>
                <a:moveTo>
                  <a:pt x="4847" y="2374"/>
                </a:moveTo>
                <a:lnTo>
                  <a:pt x="4932" y="2374"/>
                </a:lnTo>
                <a:lnTo>
                  <a:pt x="4932" y="2509"/>
                </a:lnTo>
                <a:lnTo>
                  <a:pt x="4847" y="2509"/>
                </a:lnTo>
                <a:lnTo>
                  <a:pt x="4847" y="2374"/>
                </a:lnTo>
                <a:close/>
                <a:moveTo>
                  <a:pt x="4847" y="2546"/>
                </a:moveTo>
                <a:lnTo>
                  <a:pt x="4932" y="2546"/>
                </a:lnTo>
                <a:lnTo>
                  <a:pt x="4932" y="2680"/>
                </a:lnTo>
                <a:lnTo>
                  <a:pt x="4847" y="2680"/>
                </a:lnTo>
                <a:lnTo>
                  <a:pt x="4847" y="2546"/>
                </a:lnTo>
                <a:close/>
                <a:moveTo>
                  <a:pt x="4847" y="2705"/>
                </a:moveTo>
                <a:lnTo>
                  <a:pt x="4932" y="2705"/>
                </a:lnTo>
                <a:lnTo>
                  <a:pt x="4932" y="2839"/>
                </a:lnTo>
                <a:lnTo>
                  <a:pt x="4847" y="2839"/>
                </a:lnTo>
                <a:lnTo>
                  <a:pt x="4847" y="2705"/>
                </a:lnTo>
                <a:close/>
                <a:moveTo>
                  <a:pt x="4847" y="3023"/>
                </a:moveTo>
                <a:lnTo>
                  <a:pt x="4847" y="3023"/>
                </a:lnTo>
                <a:lnTo>
                  <a:pt x="4847" y="2876"/>
                </a:lnTo>
                <a:lnTo>
                  <a:pt x="4932" y="2876"/>
                </a:lnTo>
                <a:lnTo>
                  <a:pt x="4932" y="3023"/>
                </a:lnTo>
                <a:lnTo>
                  <a:pt x="4932" y="3023"/>
                </a:lnTo>
                <a:lnTo>
                  <a:pt x="4932" y="3023"/>
                </a:lnTo>
                <a:lnTo>
                  <a:pt x="4847" y="3023"/>
                </a:lnTo>
                <a:lnTo>
                  <a:pt x="4847" y="3023"/>
                </a:lnTo>
                <a:close/>
                <a:moveTo>
                  <a:pt x="4847" y="3047"/>
                </a:moveTo>
                <a:lnTo>
                  <a:pt x="4932" y="3047"/>
                </a:lnTo>
                <a:lnTo>
                  <a:pt x="4932" y="3182"/>
                </a:lnTo>
                <a:lnTo>
                  <a:pt x="4847" y="3182"/>
                </a:lnTo>
                <a:lnTo>
                  <a:pt x="4847" y="3047"/>
                </a:lnTo>
                <a:close/>
                <a:moveTo>
                  <a:pt x="4847" y="3207"/>
                </a:moveTo>
                <a:lnTo>
                  <a:pt x="4932" y="3207"/>
                </a:lnTo>
                <a:lnTo>
                  <a:pt x="4932" y="3341"/>
                </a:lnTo>
                <a:lnTo>
                  <a:pt x="4847" y="3341"/>
                </a:lnTo>
                <a:lnTo>
                  <a:pt x="4847" y="3207"/>
                </a:lnTo>
                <a:close/>
                <a:moveTo>
                  <a:pt x="4847" y="3378"/>
                </a:moveTo>
                <a:lnTo>
                  <a:pt x="4932" y="3378"/>
                </a:lnTo>
                <a:lnTo>
                  <a:pt x="4932" y="3464"/>
                </a:lnTo>
                <a:lnTo>
                  <a:pt x="4847" y="3464"/>
                </a:lnTo>
                <a:lnTo>
                  <a:pt x="4847" y="3378"/>
                </a:lnTo>
                <a:close/>
                <a:moveTo>
                  <a:pt x="4847" y="3500"/>
                </a:moveTo>
                <a:lnTo>
                  <a:pt x="4932" y="3500"/>
                </a:lnTo>
                <a:lnTo>
                  <a:pt x="4932" y="3525"/>
                </a:lnTo>
                <a:lnTo>
                  <a:pt x="4847" y="3525"/>
                </a:lnTo>
                <a:lnTo>
                  <a:pt x="4847" y="3500"/>
                </a:lnTo>
                <a:close/>
                <a:moveTo>
                  <a:pt x="4847" y="3549"/>
                </a:moveTo>
                <a:lnTo>
                  <a:pt x="4932" y="3549"/>
                </a:lnTo>
                <a:lnTo>
                  <a:pt x="4932" y="3549"/>
                </a:lnTo>
                <a:lnTo>
                  <a:pt x="4847" y="3549"/>
                </a:lnTo>
                <a:lnTo>
                  <a:pt x="4847" y="3549"/>
                </a:lnTo>
                <a:close/>
                <a:moveTo>
                  <a:pt x="4847" y="3586"/>
                </a:moveTo>
                <a:lnTo>
                  <a:pt x="4932" y="3586"/>
                </a:lnTo>
                <a:lnTo>
                  <a:pt x="4932" y="3659"/>
                </a:lnTo>
                <a:lnTo>
                  <a:pt x="4847" y="3659"/>
                </a:lnTo>
                <a:lnTo>
                  <a:pt x="4847" y="3586"/>
                </a:lnTo>
                <a:close/>
                <a:moveTo>
                  <a:pt x="4847" y="3708"/>
                </a:moveTo>
                <a:lnTo>
                  <a:pt x="4932" y="3708"/>
                </a:lnTo>
                <a:lnTo>
                  <a:pt x="4932" y="3745"/>
                </a:lnTo>
                <a:lnTo>
                  <a:pt x="4847" y="3745"/>
                </a:lnTo>
                <a:lnTo>
                  <a:pt x="4847" y="3708"/>
                </a:lnTo>
                <a:close/>
                <a:moveTo>
                  <a:pt x="4932" y="3782"/>
                </a:moveTo>
                <a:lnTo>
                  <a:pt x="4932" y="3818"/>
                </a:lnTo>
                <a:lnTo>
                  <a:pt x="4847" y="3818"/>
                </a:lnTo>
                <a:lnTo>
                  <a:pt x="4847" y="3782"/>
                </a:lnTo>
                <a:lnTo>
                  <a:pt x="4932" y="3782"/>
                </a:lnTo>
                <a:close/>
                <a:moveTo>
                  <a:pt x="4810" y="3549"/>
                </a:moveTo>
                <a:lnTo>
                  <a:pt x="4810" y="3549"/>
                </a:lnTo>
                <a:lnTo>
                  <a:pt x="4749" y="3549"/>
                </a:lnTo>
                <a:lnTo>
                  <a:pt x="4749" y="3549"/>
                </a:lnTo>
                <a:lnTo>
                  <a:pt x="4810" y="3549"/>
                </a:lnTo>
                <a:close/>
                <a:moveTo>
                  <a:pt x="4749" y="3525"/>
                </a:moveTo>
                <a:lnTo>
                  <a:pt x="4749" y="3500"/>
                </a:lnTo>
                <a:lnTo>
                  <a:pt x="4810" y="3500"/>
                </a:lnTo>
                <a:lnTo>
                  <a:pt x="4810" y="3525"/>
                </a:lnTo>
                <a:lnTo>
                  <a:pt x="4749" y="3525"/>
                </a:lnTo>
                <a:close/>
                <a:moveTo>
                  <a:pt x="4810" y="3586"/>
                </a:moveTo>
                <a:lnTo>
                  <a:pt x="4810" y="3659"/>
                </a:lnTo>
                <a:lnTo>
                  <a:pt x="4749" y="3659"/>
                </a:lnTo>
                <a:lnTo>
                  <a:pt x="4749" y="3586"/>
                </a:lnTo>
                <a:lnTo>
                  <a:pt x="4810" y="3586"/>
                </a:lnTo>
                <a:close/>
                <a:moveTo>
                  <a:pt x="4810" y="3708"/>
                </a:moveTo>
                <a:lnTo>
                  <a:pt x="4810" y="3745"/>
                </a:lnTo>
                <a:lnTo>
                  <a:pt x="4749" y="3745"/>
                </a:lnTo>
                <a:lnTo>
                  <a:pt x="4749" y="3708"/>
                </a:lnTo>
                <a:lnTo>
                  <a:pt x="4810" y="3708"/>
                </a:lnTo>
                <a:close/>
                <a:moveTo>
                  <a:pt x="4810" y="3782"/>
                </a:moveTo>
                <a:lnTo>
                  <a:pt x="4810" y="3818"/>
                </a:lnTo>
                <a:lnTo>
                  <a:pt x="4749" y="3818"/>
                </a:lnTo>
                <a:lnTo>
                  <a:pt x="4749" y="3782"/>
                </a:lnTo>
                <a:lnTo>
                  <a:pt x="4810" y="3782"/>
                </a:lnTo>
                <a:close/>
                <a:moveTo>
                  <a:pt x="4638" y="1750"/>
                </a:moveTo>
                <a:lnTo>
                  <a:pt x="4810" y="1750"/>
                </a:lnTo>
                <a:lnTo>
                  <a:pt x="4810" y="1885"/>
                </a:lnTo>
                <a:lnTo>
                  <a:pt x="4638" y="1885"/>
                </a:lnTo>
                <a:lnTo>
                  <a:pt x="4638" y="1750"/>
                </a:lnTo>
                <a:close/>
                <a:moveTo>
                  <a:pt x="4638" y="1909"/>
                </a:moveTo>
                <a:lnTo>
                  <a:pt x="4810" y="1909"/>
                </a:lnTo>
                <a:lnTo>
                  <a:pt x="4810" y="2044"/>
                </a:lnTo>
                <a:lnTo>
                  <a:pt x="4638" y="2044"/>
                </a:lnTo>
                <a:lnTo>
                  <a:pt x="4638" y="1909"/>
                </a:lnTo>
                <a:close/>
                <a:moveTo>
                  <a:pt x="4638" y="2081"/>
                </a:moveTo>
                <a:lnTo>
                  <a:pt x="4810" y="2081"/>
                </a:lnTo>
                <a:lnTo>
                  <a:pt x="4810" y="2203"/>
                </a:lnTo>
                <a:lnTo>
                  <a:pt x="4638" y="2203"/>
                </a:lnTo>
                <a:lnTo>
                  <a:pt x="4638" y="2081"/>
                </a:lnTo>
                <a:close/>
                <a:moveTo>
                  <a:pt x="4638" y="2240"/>
                </a:moveTo>
                <a:lnTo>
                  <a:pt x="4810" y="2240"/>
                </a:lnTo>
                <a:lnTo>
                  <a:pt x="4810" y="2350"/>
                </a:lnTo>
                <a:lnTo>
                  <a:pt x="4638" y="2350"/>
                </a:lnTo>
                <a:lnTo>
                  <a:pt x="4638" y="2240"/>
                </a:lnTo>
                <a:close/>
                <a:moveTo>
                  <a:pt x="4638" y="2374"/>
                </a:moveTo>
                <a:lnTo>
                  <a:pt x="4810" y="2374"/>
                </a:lnTo>
                <a:lnTo>
                  <a:pt x="4810" y="2509"/>
                </a:lnTo>
                <a:lnTo>
                  <a:pt x="4638" y="2509"/>
                </a:lnTo>
                <a:lnTo>
                  <a:pt x="4638" y="2374"/>
                </a:lnTo>
                <a:close/>
                <a:moveTo>
                  <a:pt x="4638" y="2546"/>
                </a:moveTo>
                <a:lnTo>
                  <a:pt x="4810" y="2546"/>
                </a:lnTo>
                <a:lnTo>
                  <a:pt x="4810" y="2680"/>
                </a:lnTo>
                <a:lnTo>
                  <a:pt x="4638" y="2680"/>
                </a:lnTo>
                <a:lnTo>
                  <a:pt x="4638" y="2546"/>
                </a:lnTo>
                <a:close/>
                <a:moveTo>
                  <a:pt x="4638" y="2705"/>
                </a:moveTo>
                <a:lnTo>
                  <a:pt x="4810" y="2705"/>
                </a:lnTo>
                <a:lnTo>
                  <a:pt x="4810" y="2839"/>
                </a:lnTo>
                <a:lnTo>
                  <a:pt x="4638" y="2839"/>
                </a:lnTo>
                <a:lnTo>
                  <a:pt x="4638" y="2705"/>
                </a:lnTo>
                <a:close/>
                <a:moveTo>
                  <a:pt x="4626" y="3023"/>
                </a:moveTo>
                <a:lnTo>
                  <a:pt x="4638" y="3023"/>
                </a:lnTo>
                <a:lnTo>
                  <a:pt x="4638" y="2876"/>
                </a:lnTo>
                <a:lnTo>
                  <a:pt x="4810" y="2876"/>
                </a:lnTo>
                <a:lnTo>
                  <a:pt x="4810" y="2962"/>
                </a:lnTo>
                <a:lnTo>
                  <a:pt x="4810" y="2962"/>
                </a:lnTo>
                <a:lnTo>
                  <a:pt x="4810" y="3023"/>
                </a:lnTo>
                <a:lnTo>
                  <a:pt x="4626" y="3023"/>
                </a:lnTo>
                <a:lnTo>
                  <a:pt x="4626" y="3023"/>
                </a:lnTo>
                <a:close/>
                <a:moveTo>
                  <a:pt x="4626" y="3047"/>
                </a:moveTo>
                <a:lnTo>
                  <a:pt x="4810" y="3047"/>
                </a:lnTo>
                <a:lnTo>
                  <a:pt x="4810" y="3182"/>
                </a:lnTo>
                <a:lnTo>
                  <a:pt x="4626" y="3182"/>
                </a:lnTo>
                <a:lnTo>
                  <a:pt x="4626" y="3047"/>
                </a:lnTo>
                <a:close/>
                <a:moveTo>
                  <a:pt x="4626" y="3207"/>
                </a:moveTo>
                <a:lnTo>
                  <a:pt x="4810" y="3207"/>
                </a:lnTo>
                <a:lnTo>
                  <a:pt x="4810" y="3341"/>
                </a:lnTo>
                <a:lnTo>
                  <a:pt x="4626" y="3341"/>
                </a:lnTo>
                <a:lnTo>
                  <a:pt x="4626" y="3207"/>
                </a:lnTo>
                <a:close/>
                <a:moveTo>
                  <a:pt x="4626" y="3378"/>
                </a:moveTo>
                <a:lnTo>
                  <a:pt x="4810" y="3378"/>
                </a:lnTo>
                <a:lnTo>
                  <a:pt x="4810" y="3464"/>
                </a:lnTo>
                <a:lnTo>
                  <a:pt x="4749" y="3464"/>
                </a:lnTo>
                <a:lnTo>
                  <a:pt x="4749" y="3427"/>
                </a:lnTo>
                <a:lnTo>
                  <a:pt x="4712" y="3427"/>
                </a:lnTo>
                <a:lnTo>
                  <a:pt x="4712" y="3464"/>
                </a:lnTo>
                <a:lnTo>
                  <a:pt x="4626" y="3464"/>
                </a:lnTo>
                <a:lnTo>
                  <a:pt x="4626" y="3378"/>
                </a:lnTo>
                <a:close/>
                <a:moveTo>
                  <a:pt x="4626" y="3500"/>
                </a:moveTo>
                <a:lnTo>
                  <a:pt x="4712" y="3500"/>
                </a:lnTo>
                <a:lnTo>
                  <a:pt x="4712" y="3525"/>
                </a:lnTo>
                <a:lnTo>
                  <a:pt x="4626" y="3525"/>
                </a:lnTo>
                <a:lnTo>
                  <a:pt x="4626" y="3500"/>
                </a:lnTo>
                <a:close/>
                <a:moveTo>
                  <a:pt x="4626" y="3549"/>
                </a:moveTo>
                <a:lnTo>
                  <a:pt x="4712" y="3549"/>
                </a:lnTo>
                <a:lnTo>
                  <a:pt x="4712" y="3549"/>
                </a:lnTo>
                <a:lnTo>
                  <a:pt x="4626" y="3549"/>
                </a:lnTo>
                <a:lnTo>
                  <a:pt x="4626" y="3549"/>
                </a:lnTo>
                <a:close/>
                <a:moveTo>
                  <a:pt x="4626" y="3586"/>
                </a:moveTo>
                <a:lnTo>
                  <a:pt x="4712" y="3586"/>
                </a:lnTo>
                <a:lnTo>
                  <a:pt x="4712" y="3659"/>
                </a:lnTo>
                <a:lnTo>
                  <a:pt x="4626" y="3659"/>
                </a:lnTo>
                <a:lnTo>
                  <a:pt x="4626" y="3586"/>
                </a:lnTo>
                <a:close/>
                <a:moveTo>
                  <a:pt x="4626" y="3708"/>
                </a:moveTo>
                <a:lnTo>
                  <a:pt x="4712" y="3708"/>
                </a:lnTo>
                <a:lnTo>
                  <a:pt x="4712" y="3745"/>
                </a:lnTo>
                <a:lnTo>
                  <a:pt x="4626" y="3745"/>
                </a:lnTo>
                <a:lnTo>
                  <a:pt x="4626" y="3708"/>
                </a:lnTo>
                <a:close/>
                <a:moveTo>
                  <a:pt x="4712" y="3782"/>
                </a:moveTo>
                <a:lnTo>
                  <a:pt x="4712" y="3818"/>
                </a:lnTo>
                <a:lnTo>
                  <a:pt x="4626" y="3818"/>
                </a:lnTo>
                <a:lnTo>
                  <a:pt x="4626" y="3782"/>
                </a:lnTo>
                <a:lnTo>
                  <a:pt x="4712" y="3782"/>
                </a:lnTo>
                <a:close/>
                <a:moveTo>
                  <a:pt x="4590" y="3586"/>
                </a:moveTo>
                <a:lnTo>
                  <a:pt x="4590" y="3659"/>
                </a:lnTo>
                <a:lnTo>
                  <a:pt x="4565" y="3659"/>
                </a:lnTo>
                <a:lnTo>
                  <a:pt x="4565" y="3586"/>
                </a:lnTo>
                <a:lnTo>
                  <a:pt x="4590" y="3586"/>
                </a:lnTo>
                <a:close/>
                <a:moveTo>
                  <a:pt x="4565" y="3549"/>
                </a:moveTo>
                <a:lnTo>
                  <a:pt x="4565" y="3549"/>
                </a:lnTo>
                <a:lnTo>
                  <a:pt x="4590" y="3549"/>
                </a:lnTo>
                <a:lnTo>
                  <a:pt x="4590" y="3549"/>
                </a:lnTo>
                <a:lnTo>
                  <a:pt x="4565" y="3549"/>
                </a:lnTo>
                <a:close/>
                <a:moveTo>
                  <a:pt x="4590" y="3708"/>
                </a:moveTo>
                <a:lnTo>
                  <a:pt x="4590" y="3745"/>
                </a:lnTo>
                <a:lnTo>
                  <a:pt x="4565" y="3745"/>
                </a:lnTo>
                <a:lnTo>
                  <a:pt x="4565" y="3708"/>
                </a:lnTo>
                <a:lnTo>
                  <a:pt x="4590" y="3708"/>
                </a:lnTo>
                <a:close/>
                <a:moveTo>
                  <a:pt x="4590" y="3782"/>
                </a:moveTo>
                <a:lnTo>
                  <a:pt x="4590" y="3818"/>
                </a:lnTo>
                <a:lnTo>
                  <a:pt x="4565" y="3818"/>
                </a:lnTo>
                <a:lnTo>
                  <a:pt x="4565" y="3782"/>
                </a:lnTo>
                <a:lnTo>
                  <a:pt x="4590" y="3782"/>
                </a:lnTo>
                <a:close/>
                <a:moveTo>
                  <a:pt x="4528" y="1750"/>
                </a:moveTo>
                <a:lnTo>
                  <a:pt x="4614" y="1750"/>
                </a:lnTo>
                <a:lnTo>
                  <a:pt x="4614" y="1885"/>
                </a:lnTo>
                <a:lnTo>
                  <a:pt x="4528" y="1885"/>
                </a:lnTo>
                <a:lnTo>
                  <a:pt x="4528" y="1750"/>
                </a:lnTo>
                <a:close/>
                <a:moveTo>
                  <a:pt x="4528" y="1909"/>
                </a:moveTo>
                <a:lnTo>
                  <a:pt x="4614" y="1909"/>
                </a:lnTo>
                <a:lnTo>
                  <a:pt x="4614" y="2044"/>
                </a:lnTo>
                <a:lnTo>
                  <a:pt x="4528" y="2044"/>
                </a:lnTo>
                <a:lnTo>
                  <a:pt x="4528" y="1909"/>
                </a:lnTo>
                <a:close/>
                <a:moveTo>
                  <a:pt x="4528" y="2081"/>
                </a:moveTo>
                <a:lnTo>
                  <a:pt x="4614" y="2081"/>
                </a:lnTo>
                <a:lnTo>
                  <a:pt x="4614" y="2203"/>
                </a:lnTo>
                <a:lnTo>
                  <a:pt x="4528" y="2203"/>
                </a:lnTo>
                <a:lnTo>
                  <a:pt x="4528" y="2081"/>
                </a:lnTo>
                <a:close/>
                <a:moveTo>
                  <a:pt x="4528" y="2240"/>
                </a:moveTo>
                <a:lnTo>
                  <a:pt x="4614" y="2240"/>
                </a:lnTo>
                <a:lnTo>
                  <a:pt x="4614" y="2350"/>
                </a:lnTo>
                <a:lnTo>
                  <a:pt x="4528" y="2350"/>
                </a:lnTo>
                <a:lnTo>
                  <a:pt x="4528" y="2240"/>
                </a:lnTo>
                <a:close/>
                <a:moveTo>
                  <a:pt x="4528" y="2374"/>
                </a:moveTo>
                <a:lnTo>
                  <a:pt x="4614" y="2374"/>
                </a:lnTo>
                <a:lnTo>
                  <a:pt x="4614" y="2509"/>
                </a:lnTo>
                <a:lnTo>
                  <a:pt x="4528" y="2509"/>
                </a:lnTo>
                <a:lnTo>
                  <a:pt x="4528" y="2374"/>
                </a:lnTo>
                <a:close/>
                <a:moveTo>
                  <a:pt x="4528" y="2546"/>
                </a:moveTo>
                <a:lnTo>
                  <a:pt x="4614" y="2546"/>
                </a:lnTo>
                <a:lnTo>
                  <a:pt x="4614" y="2680"/>
                </a:lnTo>
                <a:lnTo>
                  <a:pt x="4528" y="2680"/>
                </a:lnTo>
                <a:lnTo>
                  <a:pt x="4528" y="2546"/>
                </a:lnTo>
                <a:close/>
                <a:moveTo>
                  <a:pt x="4528" y="2839"/>
                </a:moveTo>
                <a:lnTo>
                  <a:pt x="4528" y="2705"/>
                </a:lnTo>
                <a:lnTo>
                  <a:pt x="4614" y="2705"/>
                </a:lnTo>
                <a:lnTo>
                  <a:pt x="4614" y="2839"/>
                </a:lnTo>
                <a:lnTo>
                  <a:pt x="4528" y="2839"/>
                </a:lnTo>
                <a:close/>
                <a:moveTo>
                  <a:pt x="4504" y="3207"/>
                </a:moveTo>
                <a:lnTo>
                  <a:pt x="4590" y="3207"/>
                </a:lnTo>
                <a:lnTo>
                  <a:pt x="4590" y="3341"/>
                </a:lnTo>
                <a:lnTo>
                  <a:pt x="4504" y="3341"/>
                </a:lnTo>
                <a:lnTo>
                  <a:pt x="4504" y="3207"/>
                </a:lnTo>
                <a:close/>
                <a:moveTo>
                  <a:pt x="4504" y="3378"/>
                </a:moveTo>
                <a:lnTo>
                  <a:pt x="4590" y="3378"/>
                </a:lnTo>
                <a:lnTo>
                  <a:pt x="4590" y="3464"/>
                </a:lnTo>
                <a:lnTo>
                  <a:pt x="4504" y="3464"/>
                </a:lnTo>
                <a:lnTo>
                  <a:pt x="4504" y="3378"/>
                </a:lnTo>
                <a:close/>
                <a:moveTo>
                  <a:pt x="4504" y="3500"/>
                </a:moveTo>
                <a:lnTo>
                  <a:pt x="4590" y="3500"/>
                </a:lnTo>
                <a:lnTo>
                  <a:pt x="4590" y="3525"/>
                </a:lnTo>
                <a:lnTo>
                  <a:pt x="4565" y="3525"/>
                </a:lnTo>
                <a:lnTo>
                  <a:pt x="4565" y="3500"/>
                </a:lnTo>
                <a:lnTo>
                  <a:pt x="4541" y="3500"/>
                </a:lnTo>
                <a:lnTo>
                  <a:pt x="4541" y="3525"/>
                </a:lnTo>
                <a:lnTo>
                  <a:pt x="4504" y="3525"/>
                </a:lnTo>
                <a:lnTo>
                  <a:pt x="4504" y="3500"/>
                </a:lnTo>
                <a:close/>
                <a:moveTo>
                  <a:pt x="4504" y="3549"/>
                </a:moveTo>
                <a:lnTo>
                  <a:pt x="4541" y="3549"/>
                </a:lnTo>
                <a:lnTo>
                  <a:pt x="4541" y="3549"/>
                </a:lnTo>
                <a:lnTo>
                  <a:pt x="4504" y="3549"/>
                </a:lnTo>
                <a:lnTo>
                  <a:pt x="4504" y="3549"/>
                </a:lnTo>
                <a:close/>
                <a:moveTo>
                  <a:pt x="4504" y="3586"/>
                </a:moveTo>
                <a:lnTo>
                  <a:pt x="4541" y="3586"/>
                </a:lnTo>
                <a:lnTo>
                  <a:pt x="4541" y="3659"/>
                </a:lnTo>
                <a:lnTo>
                  <a:pt x="4504" y="3659"/>
                </a:lnTo>
                <a:lnTo>
                  <a:pt x="4504" y="3586"/>
                </a:lnTo>
                <a:close/>
                <a:moveTo>
                  <a:pt x="4504" y="3708"/>
                </a:moveTo>
                <a:lnTo>
                  <a:pt x="4541" y="3708"/>
                </a:lnTo>
                <a:lnTo>
                  <a:pt x="4541" y="3745"/>
                </a:lnTo>
                <a:lnTo>
                  <a:pt x="4504" y="3745"/>
                </a:lnTo>
                <a:lnTo>
                  <a:pt x="4504" y="3708"/>
                </a:lnTo>
                <a:close/>
                <a:moveTo>
                  <a:pt x="4504" y="3782"/>
                </a:moveTo>
                <a:lnTo>
                  <a:pt x="4541" y="3782"/>
                </a:lnTo>
                <a:lnTo>
                  <a:pt x="4541" y="3818"/>
                </a:lnTo>
                <a:lnTo>
                  <a:pt x="4504" y="3818"/>
                </a:lnTo>
                <a:lnTo>
                  <a:pt x="4504" y="3782"/>
                </a:lnTo>
                <a:close/>
                <a:moveTo>
                  <a:pt x="3990" y="3366"/>
                </a:moveTo>
                <a:lnTo>
                  <a:pt x="4100" y="3255"/>
                </a:lnTo>
                <a:lnTo>
                  <a:pt x="4210" y="3366"/>
                </a:lnTo>
                <a:lnTo>
                  <a:pt x="3990" y="3366"/>
                </a:lnTo>
                <a:close/>
                <a:moveTo>
                  <a:pt x="4210" y="3439"/>
                </a:moveTo>
                <a:lnTo>
                  <a:pt x="4100" y="3537"/>
                </a:lnTo>
                <a:lnTo>
                  <a:pt x="4002" y="3439"/>
                </a:lnTo>
                <a:lnTo>
                  <a:pt x="4210" y="3439"/>
                </a:lnTo>
                <a:close/>
                <a:moveTo>
                  <a:pt x="4002" y="3072"/>
                </a:moveTo>
                <a:lnTo>
                  <a:pt x="4210" y="3072"/>
                </a:lnTo>
                <a:lnTo>
                  <a:pt x="4100" y="3182"/>
                </a:lnTo>
                <a:lnTo>
                  <a:pt x="4002" y="3072"/>
                </a:lnTo>
                <a:close/>
                <a:moveTo>
                  <a:pt x="4137" y="3219"/>
                </a:moveTo>
                <a:lnTo>
                  <a:pt x="4247" y="3109"/>
                </a:lnTo>
                <a:lnTo>
                  <a:pt x="4247" y="3329"/>
                </a:lnTo>
                <a:lnTo>
                  <a:pt x="4137" y="3219"/>
                </a:lnTo>
                <a:close/>
                <a:moveTo>
                  <a:pt x="4210" y="2998"/>
                </a:moveTo>
                <a:lnTo>
                  <a:pt x="3990" y="2998"/>
                </a:lnTo>
                <a:lnTo>
                  <a:pt x="4100" y="2888"/>
                </a:lnTo>
                <a:lnTo>
                  <a:pt x="4210" y="2998"/>
                </a:lnTo>
                <a:close/>
                <a:moveTo>
                  <a:pt x="4137" y="2852"/>
                </a:moveTo>
                <a:lnTo>
                  <a:pt x="4247" y="2741"/>
                </a:lnTo>
                <a:lnTo>
                  <a:pt x="4247" y="2962"/>
                </a:lnTo>
                <a:lnTo>
                  <a:pt x="4137" y="2852"/>
                </a:lnTo>
                <a:close/>
                <a:moveTo>
                  <a:pt x="3941" y="2974"/>
                </a:moveTo>
                <a:lnTo>
                  <a:pt x="3941" y="2729"/>
                </a:lnTo>
                <a:lnTo>
                  <a:pt x="4063" y="2852"/>
                </a:lnTo>
                <a:lnTo>
                  <a:pt x="3941" y="2974"/>
                </a:lnTo>
                <a:close/>
                <a:moveTo>
                  <a:pt x="4063" y="3219"/>
                </a:moveTo>
                <a:lnTo>
                  <a:pt x="3941" y="3329"/>
                </a:lnTo>
                <a:lnTo>
                  <a:pt x="3941" y="3096"/>
                </a:lnTo>
                <a:lnTo>
                  <a:pt x="4063" y="3219"/>
                </a:lnTo>
                <a:close/>
                <a:moveTo>
                  <a:pt x="4063" y="3574"/>
                </a:moveTo>
                <a:lnTo>
                  <a:pt x="3941" y="3696"/>
                </a:lnTo>
                <a:lnTo>
                  <a:pt x="3941" y="3464"/>
                </a:lnTo>
                <a:lnTo>
                  <a:pt x="4063" y="3574"/>
                </a:lnTo>
                <a:close/>
                <a:moveTo>
                  <a:pt x="4100" y="3610"/>
                </a:moveTo>
                <a:lnTo>
                  <a:pt x="4210" y="3721"/>
                </a:lnTo>
                <a:lnTo>
                  <a:pt x="3990" y="3721"/>
                </a:lnTo>
                <a:lnTo>
                  <a:pt x="4100" y="3610"/>
                </a:lnTo>
                <a:close/>
                <a:moveTo>
                  <a:pt x="4137" y="3574"/>
                </a:moveTo>
                <a:lnTo>
                  <a:pt x="4247" y="3464"/>
                </a:lnTo>
                <a:lnTo>
                  <a:pt x="4247" y="3696"/>
                </a:lnTo>
                <a:lnTo>
                  <a:pt x="4137" y="3574"/>
                </a:lnTo>
                <a:close/>
                <a:moveTo>
                  <a:pt x="4137" y="1297"/>
                </a:moveTo>
                <a:lnTo>
                  <a:pt x="4271" y="1297"/>
                </a:lnTo>
                <a:lnTo>
                  <a:pt x="4271" y="1358"/>
                </a:lnTo>
                <a:lnTo>
                  <a:pt x="4137" y="1358"/>
                </a:lnTo>
                <a:lnTo>
                  <a:pt x="4137" y="1297"/>
                </a:lnTo>
                <a:close/>
                <a:moveTo>
                  <a:pt x="4137" y="1395"/>
                </a:moveTo>
                <a:lnTo>
                  <a:pt x="4271" y="1395"/>
                </a:lnTo>
                <a:lnTo>
                  <a:pt x="4271" y="1456"/>
                </a:lnTo>
                <a:lnTo>
                  <a:pt x="4137" y="1456"/>
                </a:lnTo>
                <a:lnTo>
                  <a:pt x="4137" y="1395"/>
                </a:lnTo>
                <a:close/>
                <a:moveTo>
                  <a:pt x="4137" y="1481"/>
                </a:moveTo>
                <a:lnTo>
                  <a:pt x="4271" y="1481"/>
                </a:lnTo>
                <a:lnTo>
                  <a:pt x="4271" y="1554"/>
                </a:lnTo>
                <a:lnTo>
                  <a:pt x="4137" y="1554"/>
                </a:lnTo>
                <a:lnTo>
                  <a:pt x="4137" y="1481"/>
                </a:lnTo>
                <a:close/>
                <a:moveTo>
                  <a:pt x="4137" y="1579"/>
                </a:moveTo>
                <a:lnTo>
                  <a:pt x="4271" y="1579"/>
                </a:lnTo>
                <a:lnTo>
                  <a:pt x="4271" y="1640"/>
                </a:lnTo>
                <a:lnTo>
                  <a:pt x="4137" y="1640"/>
                </a:lnTo>
                <a:lnTo>
                  <a:pt x="4137" y="1579"/>
                </a:lnTo>
                <a:close/>
                <a:moveTo>
                  <a:pt x="4137" y="1677"/>
                </a:moveTo>
                <a:lnTo>
                  <a:pt x="4271" y="1677"/>
                </a:lnTo>
                <a:lnTo>
                  <a:pt x="4271" y="1738"/>
                </a:lnTo>
                <a:lnTo>
                  <a:pt x="4137" y="1738"/>
                </a:lnTo>
                <a:lnTo>
                  <a:pt x="4137" y="1677"/>
                </a:lnTo>
                <a:close/>
                <a:moveTo>
                  <a:pt x="4137" y="1775"/>
                </a:moveTo>
                <a:lnTo>
                  <a:pt x="4271" y="1775"/>
                </a:lnTo>
                <a:lnTo>
                  <a:pt x="4271" y="1836"/>
                </a:lnTo>
                <a:lnTo>
                  <a:pt x="4137" y="1836"/>
                </a:lnTo>
                <a:lnTo>
                  <a:pt x="4137" y="1775"/>
                </a:lnTo>
                <a:close/>
                <a:moveTo>
                  <a:pt x="4137" y="1872"/>
                </a:moveTo>
                <a:lnTo>
                  <a:pt x="4271" y="1872"/>
                </a:lnTo>
                <a:lnTo>
                  <a:pt x="4271" y="1934"/>
                </a:lnTo>
                <a:lnTo>
                  <a:pt x="4137" y="1934"/>
                </a:lnTo>
                <a:lnTo>
                  <a:pt x="4137" y="1872"/>
                </a:lnTo>
                <a:close/>
                <a:moveTo>
                  <a:pt x="4137" y="1970"/>
                </a:moveTo>
                <a:lnTo>
                  <a:pt x="4271" y="1970"/>
                </a:lnTo>
                <a:lnTo>
                  <a:pt x="4271" y="2032"/>
                </a:lnTo>
                <a:lnTo>
                  <a:pt x="4137" y="2032"/>
                </a:lnTo>
                <a:lnTo>
                  <a:pt x="4137" y="1970"/>
                </a:lnTo>
                <a:close/>
                <a:moveTo>
                  <a:pt x="4137" y="2056"/>
                </a:moveTo>
                <a:lnTo>
                  <a:pt x="4271" y="2056"/>
                </a:lnTo>
                <a:lnTo>
                  <a:pt x="4271" y="2117"/>
                </a:lnTo>
                <a:lnTo>
                  <a:pt x="4137" y="2117"/>
                </a:lnTo>
                <a:lnTo>
                  <a:pt x="4137" y="2056"/>
                </a:lnTo>
                <a:close/>
                <a:moveTo>
                  <a:pt x="4137" y="2154"/>
                </a:moveTo>
                <a:lnTo>
                  <a:pt x="4271" y="2154"/>
                </a:lnTo>
                <a:lnTo>
                  <a:pt x="4271" y="2215"/>
                </a:lnTo>
                <a:lnTo>
                  <a:pt x="4137" y="2215"/>
                </a:lnTo>
                <a:lnTo>
                  <a:pt x="4137" y="2154"/>
                </a:lnTo>
                <a:close/>
                <a:moveTo>
                  <a:pt x="4210" y="2717"/>
                </a:moveTo>
                <a:lnTo>
                  <a:pt x="4100" y="2815"/>
                </a:lnTo>
                <a:lnTo>
                  <a:pt x="4002" y="2717"/>
                </a:lnTo>
                <a:lnTo>
                  <a:pt x="4210" y="2717"/>
                </a:lnTo>
                <a:close/>
                <a:moveTo>
                  <a:pt x="3904" y="1297"/>
                </a:moveTo>
                <a:lnTo>
                  <a:pt x="4039" y="1297"/>
                </a:lnTo>
                <a:lnTo>
                  <a:pt x="4039" y="1358"/>
                </a:lnTo>
                <a:lnTo>
                  <a:pt x="3904" y="1358"/>
                </a:lnTo>
                <a:lnTo>
                  <a:pt x="3904" y="1297"/>
                </a:lnTo>
                <a:close/>
                <a:moveTo>
                  <a:pt x="3904" y="1395"/>
                </a:moveTo>
                <a:lnTo>
                  <a:pt x="4039" y="1395"/>
                </a:lnTo>
                <a:lnTo>
                  <a:pt x="4039" y="1456"/>
                </a:lnTo>
                <a:lnTo>
                  <a:pt x="3904" y="1456"/>
                </a:lnTo>
                <a:lnTo>
                  <a:pt x="3904" y="1395"/>
                </a:lnTo>
                <a:close/>
                <a:moveTo>
                  <a:pt x="3904" y="1481"/>
                </a:moveTo>
                <a:lnTo>
                  <a:pt x="4039" y="1481"/>
                </a:lnTo>
                <a:lnTo>
                  <a:pt x="4039" y="1554"/>
                </a:lnTo>
                <a:lnTo>
                  <a:pt x="3904" y="1554"/>
                </a:lnTo>
                <a:lnTo>
                  <a:pt x="3904" y="1481"/>
                </a:lnTo>
                <a:close/>
                <a:moveTo>
                  <a:pt x="3904" y="1579"/>
                </a:moveTo>
                <a:lnTo>
                  <a:pt x="4039" y="1579"/>
                </a:lnTo>
                <a:lnTo>
                  <a:pt x="4039" y="1640"/>
                </a:lnTo>
                <a:lnTo>
                  <a:pt x="3904" y="1640"/>
                </a:lnTo>
                <a:lnTo>
                  <a:pt x="3904" y="1579"/>
                </a:lnTo>
                <a:close/>
                <a:moveTo>
                  <a:pt x="3904" y="1677"/>
                </a:moveTo>
                <a:lnTo>
                  <a:pt x="4039" y="1677"/>
                </a:lnTo>
                <a:lnTo>
                  <a:pt x="4039" y="1738"/>
                </a:lnTo>
                <a:lnTo>
                  <a:pt x="3904" y="1738"/>
                </a:lnTo>
                <a:lnTo>
                  <a:pt x="3904" y="1677"/>
                </a:lnTo>
                <a:close/>
                <a:moveTo>
                  <a:pt x="3904" y="1775"/>
                </a:moveTo>
                <a:lnTo>
                  <a:pt x="4039" y="1775"/>
                </a:lnTo>
                <a:lnTo>
                  <a:pt x="4039" y="1836"/>
                </a:lnTo>
                <a:lnTo>
                  <a:pt x="3904" y="1836"/>
                </a:lnTo>
                <a:lnTo>
                  <a:pt x="3904" y="1775"/>
                </a:lnTo>
                <a:close/>
                <a:moveTo>
                  <a:pt x="3904" y="1872"/>
                </a:moveTo>
                <a:lnTo>
                  <a:pt x="4039" y="1872"/>
                </a:lnTo>
                <a:lnTo>
                  <a:pt x="4039" y="1934"/>
                </a:lnTo>
                <a:lnTo>
                  <a:pt x="3904" y="1934"/>
                </a:lnTo>
                <a:lnTo>
                  <a:pt x="3904" y="1872"/>
                </a:lnTo>
                <a:close/>
                <a:moveTo>
                  <a:pt x="3904" y="1970"/>
                </a:moveTo>
                <a:lnTo>
                  <a:pt x="4039" y="1970"/>
                </a:lnTo>
                <a:lnTo>
                  <a:pt x="4039" y="2032"/>
                </a:lnTo>
                <a:lnTo>
                  <a:pt x="3904" y="2032"/>
                </a:lnTo>
                <a:lnTo>
                  <a:pt x="3904" y="1970"/>
                </a:lnTo>
                <a:close/>
                <a:moveTo>
                  <a:pt x="3904" y="2056"/>
                </a:moveTo>
                <a:lnTo>
                  <a:pt x="4039" y="2056"/>
                </a:lnTo>
                <a:lnTo>
                  <a:pt x="4039" y="2117"/>
                </a:lnTo>
                <a:lnTo>
                  <a:pt x="3904" y="2117"/>
                </a:lnTo>
                <a:lnTo>
                  <a:pt x="3904" y="2056"/>
                </a:lnTo>
                <a:close/>
                <a:moveTo>
                  <a:pt x="3904" y="2154"/>
                </a:moveTo>
                <a:lnTo>
                  <a:pt x="4039" y="2154"/>
                </a:lnTo>
                <a:lnTo>
                  <a:pt x="4039" y="2215"/>
                </a:lnTo>
                <a:lnTo>
                  <a:pt x="3904" y="2215"/>
                </a:lnTo>
                <a:lnTo>
                  <a:pt x="3904" y="2154"/>
                </a:lnTo>
                <a:close/>
                <a:moveTo>
                  <a:pt x="3941" y="3806"/>
                </a:moveTo>
                <a:lnTo>
                  <a:pt x="4247" y="3806"/>
                </a:lnTo>
                <a:lnTo>
                  <a:pt x="4247" y="3818"/>
                </a:lnTo>
                <a:lnTo>
                  <a:pt x="3941" y="3818"/>
                </a:lnTo>
                <a:lnTo>
                  <a:pt x="3941" y="3806"/>
                </a:lnTo>
                <a:close/>
                <a:moveTo>
                  <a:pt x="1958" y="3329"/>
                </a:moveTo>
                <a:lnTo>
                  <a:pt x="1885" y="3415"/>
                </a:lnTo>
                <a:lnTo>
                  <a:pt x="1799" y="3329"/>
                </a:lnTo>
                <a:lnTo>
                  <a:pt x="1958" y="3329"/>
                </a:lnTo>
                <a:close/>
                <a:moveTo>
                  <a:pt x="1799" y="3280"/>
                </a:moveTo>
                <a:lnTo>
                  <a:pt x="1885" y="3194"/>
                </a:lnTo>
                <a:lnTo>
                  <a:pt x="1970" y="3280"/>
                </a:lnTo>
                <a:lnTo>
                  <a:pt x="1799" y="3280"/>
                </a:lnTo>
                <a:close/>
                <a:moveTo>
                  <a:pt x="1995" y="3353"/>
                </a:moveTo>
                <a:lnTo>
                  <a:pt x="1995" y="3525"/>
                </a:lnTo>
                <a:lnTo>
                  <a:pt x="1909" y="3439"/>
                </a:lnTo>
                <a:lnTo>
                  <a:pt x="1995" y="3353"/>
                </a:lnTo>
                <a:close/>
                <a:moveTo>
                  <a:pt x="1970" y="3549"/>
                </a:moveTo>
                <a:lnTo>
                  <a:pt x="1799" y="3549"/>
                </a:lnTo>
                <a:lnTo>
                  <a:pt x="1885" y="3464"/>
                </a:lnTo>
                <a:lnTo>
                  <a:pt x="1970" y="3549"/>
                </a:lnTo>
                <a:close/>
                <a:moveTo>
                  <a:pt x="1958" y="3610"/>
                </a:moveTo>
                <a:lnTo>
                  <a:pt x="1885" y="3684"/>
                </a:lnTo>
                <a:lnTo>
                  <a:pt x="1799" y="3610"/>
                </a:lnTo>
                <a:lnTo>
                  <a:pt x="1958" y="3610"/>
                </a:lnTo>
                <a:close/>
                <a:moveTo>
                  <a:pt x="1995" y="3635"/>
                </a:moveTo>
                <a:lnTo>
                  <a:pt x="1995" y="3806"/>
                </a:lnTo>
                <a:lnTo>
                  <a:pt x="1909" y="3721"/>
                </a:lnTo>
                <a:lnTo>
                  <a:pt x="1995" y="3635"/>
                </a:lnTo>
                <a:close/>
                <a:moveTo>
                  <a:pt x="1995" y="3243"/>
                </a:moveTo>
                <a:lnTo>
                  <a:pt x="1909" y="3158"/>
                </a:lnTo>
                <a:lnTo>
                  <a:pt x="1995" y="3072"/>
                </a:lnTo>
                <a:lnTo>
                  <a:pt x="1995" y="3243"/>
                </a:lnTo>
                <a:close/>
                <a:moveTo>
                  <a:pt x="1958" y="3060"/>
                </a:moveTo>
                <a:lnTo>
                  <a:pt x="1885" y="3133"/>
                </a:lnTo>
                <a:lnTo>
                  <a:pt x="1799" y="3060"/>
                </a:lnTo>
                <a:lnTo>
                  <a:pt x="1958" y="3060"/>
                </a:lnTo>
                <a:close/>
                <a:moveTo>
                  <a:pt x="1762" y="3072"/>
                </a:moveTo>
                <a:lnTo>
                  <a:pt x="1848" y="3158"/>
                </a:lnTo>
                <a:lnTo>
                  <a:pt x="1762" y="3255"/>
                </a:lnTo>
                <a:lnTo>
                  <a:pt x="1762" y="3072"/>
                </a:lnTo>
                <a:close/>
                <a:moveTo>
                  <a:pt x="1762" y="3353"/>
                </a:moveTo>
                <a:lnTo>
                  <a:pt x="1848" y="3439"/>
                </a:lnTo>
                <a:lnTo>
                  <a:pt x="1762" y="3525"/>
                </a:lnTo>
                <a:lnTo>
                  <a:pt x="1762" y="3353"/>
                </a:lnTo>
                <a:close/>
                <a:moveTo>
                  <a:pt x="1762" y="3623"/>
                </a:moveTo>
                <a:lnTo>
                  <a:pt x="1848" y="3721"/>
                </a:lnTo>
                <a:lnTo>
                  <a:pt x="1762" y="3806"/>
                </a:lnTo>
                <a:lnTo>
                  <a:pt x="1762" y="3623"/>
                </a:lnTo>
                <a:close/>
                <a:moveTo>
                  <a:pt x="1885" y="3745"/>
                </a:moveTo>
                <a:lnTo>
                  <a:pt x="1958" y="3818"/>
                </a:lnTo>
                <a:lnTo>
                  <a:pt x="1799" y="3818"/>
                </a:lnTo>
                <a:lnTo>
                  <a:pt x="1885" y="3745"/>
                </a:lnTo>
                <a:close/>
                <a:moveTo>
                  <a:pt x="1456" y="2644"/>
                </a:moveTo>
                <a:lnTo>
                  <a:pt x="1542" y="2644"/>
                </a:lnTo>
                <a:lnTo>
                  <a:pt x="1542" y="2778"/>
                </a:lnTo>
                <a:lnTo>
                  <a:pt x="1456" y="2778"/>
                </a:lnTo>
                <a:lnTo>
                  <a:pt x="1456" y="2644"/>
                </a:lnTo>
                <a:close/>
                <a:moveTo>
                  <a:pt x="1456" y="2815"/>
                </a:moveTo>
                <a:lnTo>
                  <a:pt x="1542" y="2815"/>
                </a:lnTo>
                <a:lnTo>
                  <a:pt x="1542" y="2949"/>
                </a:lnTo>
                <a:lnTo>
                  <a:pt x="1456" y="2949"/>
                </a:lnTo>
                <a:lnTo>
                  <a:pt x="1456" y="2815"/>
                </a:lnTo>
                <a:close/>
                <a:moveTo>
                  <a:pt x="1456" y="2974"/>
                </a:moveTo>
                <a:lnTo>
                  <a:pt x="1542" y="2974"/>
                </a:lnTo>
                <a:lnTo>
                  <a:pt x="1542" y="3109"/>
                </a:lnTo>
                <a:lnTo>
                  <a:pt x="1456" y="3109"/>
                </a:lnTo>
                <a:lnTo>
                  <a:pt x="1456" y="2974"/>
                </a:lnTo>
                <a:close/>
                <a:moveTo>
                  <a:pt x="1456" y="3145"/>
                </a:moveTo>
                <a:lnTo>
                  <a:pt x="1542" y="3145"/>
                </a:lnTo>
                <a:lnTo>
                  <a:pt x="1542" y="3243"/>
                </a:lnTo>
                <a:lnTo>
                  <a:pt x="1456" y="3243"/>
                </a:lnTo>
                <a:lnTo>
                  <a:pt x="1456" y="3145"/>
                </a:lnTo>
                <a:close/>
                <a:moveTo>
                  <a:pt x="1456" y="3280"/>
                </a:moveTo>
                <a:lnTo>
                  <a:pt x="1542" y="3280"/>
                </a:lnTo>
                <a:lnTo>
                  <a:pt x="1542" y="3415"/>
                </a:lnTo>
                <a:lnTo>
                  <a:pt x="1456" y="3415"/>
                </a:lnTo>
                <a:lnTo>
                  <a:pt x="1456" y="3280"/>
                </a:lnTo>
                <a:close/>
                <a:moveTo>
                  <a:pt x="1456" y="3439"/>
                </a:moveTo>
                <a:lnTo>
                  <a:pt x="1542" y="3439"/>
                </a:lnTo>
                <a:lnTo>
                  <a:pt x="1542" y="3574"/>
                </a:lnTo>
                <a:lnTo>
                  <a:pt x="1456" y="3574"/>
                </a:lnTo>
                <a:lnTo>
                  <a:pt x="1456" y="3439"/>
                </a:lnTo>
                <a:close/>
                <a:moveTo>
                  <a:pt x="1456" y="3610"/>
                </a:moveTo>
                <a:lnTo>
                  <a:pt x="1542" y="3610"/>
                </a:lnTo>
                <a:lnTo>
                  <a:pt x="1542" y="3745"/>
                </a:lnTo>
                <a:lnTo>
                  <a:pt x="1456" y="3745"/>
                </a:lnTo>
                <a:lnTo>
                  <a:pt x="1456" y="3610"/>
                </a:lnTo>
                <a:close/>
                <a:moveTo>
                  <a:pt x="1456" y="3769"/>
                </a:moveTo>
                <a:lnTo>
                  <a:pt x="1542" y="3769"/>
                </a:lnTo>
                <a:lnTo>
                  <a:pt x="1542" y="3818"/>
                </a:lnTo>
                <a:lnTo>
                  <a:pt x="1456" y="3818"/>
                </a:lnTo>
                <a:lnTo>
                  <a:pt x="1456" y="3769"/>
                </a:lnTo>
                <a:close/>
                <a:moveTo>
                  <a:pt x="942" y="2864"/>
                </a:moveTo>
                <a:lnTo>
                  <a:pt x="869" y="2790"/>
                </a:lnTo>
                <a:lnTo>
                  <a:pt x="1028" y="2790"/>
                </a:lnTo>
                <a:lnTo>
                  <a:pt x="942" y="2864"/>
                </a:lnTo>
                <a:close/>
                <a:moveTo>
                  <a:pt x="1052" y="2803"/>
                </a:moveTo>
                <a:lnTo>
                  <a:pt x="1052" y="2974"/>
                </a:lnTo>
                <a:lnTo>
                  <a:pt x="967" y="2888"/>
                </a:lnTo>
                <a:lnTo>
                  <a:pt x="1052" y="2803"/>
                </a:lnTo>
                <a:close/>
                <a:moveTo>
                  <a:pt x="1016" y="2986"/>
                </a:moveTo>
                <a:lnTo>
                  <a:pt x="869" y="2986"/>
                </a:lnTo>
                <a:lnTo>
                  <a:pt x="942" y="2913"/>
                </a:lnTo>
                <a:lnTo>
                  <a:pt x="1016" y="2986"/>
                </a:lnTo>
                <a:close/>
                <a:moveTo>
                  <a:pt x="1028" y="3047"/>
                </a:moveTo>
                <a:lnTo>
                  <a:pt x="942" y="3121"/>
                </a:lnTo>
                <a:lnTo>
                  <a:pt x="869" y="3047"/>
                </a:lnTo>
                <a:lnTo>
                  <a:pt x="1028" y="3047"/>
                </a:lnTo>
                <a:close/>
                <a:moveTo>
                  <a:pt x="1052" y="3060"/>
                </a:moveTo>
                <a:lnTo>
                  <a:pt x="1052" y="3231"/>
                </a:lnTo>
                <a:lnTo>
                  <a:pt x="967" y="3145"/>
                </a:lnTo>
                <a:lnTo>
                  <a:pt x="1052" y="3060"/>
                </a:lnTo>
                <a:close/>
                <a:moveTo>
                  <a:pt x="1016" y="3243"/>
                </a:moveTo>
                <a:lnTo>
                  <a:pt x="869" y="3243"/>
                </a:lnTo>
                <a:lnTo>
                  <a:pt x="942" y="3170"/>
                </a:lnTo>
                <a:lnTo>
                  <a:pt x="1016" y="3243"/>
                </a:lnTo>
                <a:close/>
                <a:moveTo>
                  <a:pt x="1028" y="3304"/>
                </a:moveTo>
                <a:lnTo>
                  <a:pt x="942" y="3378"/>
                </a:lnTo>
                <a:lnTo>
                  <a:pt x="869" y="3304"/>
                </a:lnTo>
                <a:lnTo>
                  <a:pt x="1028" y="3304"/>
                </a:lnTo>
                <a:close/>
                <a:moveTo>
                  <a:pt x="1052" y="3317"/>
                </a:moveTo>
                <a:lnTo>
                  <a:pt x="1052" y="3488"/>
                </a:lnTo>
                <a:lnTo>
                  <a:pt x="967" y="3402"/>
                </a:lnTo>
                <a:lnTo>
                  <a:pt x="1052" y="3317"/>
                </a:lnTo>
                <a:close/>
                <a:moveTo>
                  <a:pt x="1016" y="3500"/>
                </a:moveTo>
                <a:lnTo>
                  <a:pt x="869" y="3500"/>
                </a:lnTo>
                <a:lnTo>
                  <a:pt x="942" y="3427"/>
                </a:lnTo>
                <a:lnTo>
                  <a:pt x="1016" y="3500"/>
                </a:lnTo>
                <a:close/>
                <a:moveTo>
                  <a:pt x="1028" y="3561"/>
                </a:moveTo>
                <a:lnTo>
                  <a:pt x="942" y="3635"/>
                </a:lnTo>
                <a:lnTo>
                  <a:pt x="869" y="3561"/>
                </a:lnTo>
                <a:lnTo>
                  <a:pt x="1028" y="3561"/>
                </a:lnTo>
                <a:close/>
                <a:moveTo>
                  <a:pt x="1052" y="3574"/>
                </a:moveTo>
                <a:lnTo>
                  <a:pt x="1052" y="3745"/>
                </a:lnTo>
                <a:lnTo>
                  <a:pt x="967" y="3659"/>
                </a:lnTo>
                <a:lnTo>
                  <a:pt x="1052" y="3574"/>
                </a:lnTo>
                <a:close/>
                <a:moveTo>
                  <a:pt x="1028" y="1946"/>
                </a:moveTo>
                <a:lnTo>
                  <a:pt x="942" y="2032"/>
                </a:lnTo>
                <a:lnTo>
                  <a:pt x="869" y="1946"/>
                </a:lnTo>
                <a:lnTo>
                  <a:pt x="1028" y="1946"/>
                </a:lnTo>
                <a:close/>
                <a:moveTo>
                  <a:pt x="869" y="1897"/>
                </a:moveTo>
                <a:lnTo>
                  <a:pt x="942" y="1824"/>
                </a:lnTo>
                <a:lnTo>
                  <a:pt x="1016" y="1897"/>
                </a:lnTo>
                <a:lnTo>
                  <a:pt x="869" y="1897"/>
                </a:lnTo>
                <a:close/>
                <a:moveTo>
                  <a:pt x="1052" y="1970"/>
                </a:moveTo>
                <a:lnTo>
                  <a:pt x="1052" y="2130"/>
                </a:lnTo>
                <a:lnTo>
                  <a:pt x="967" y="2056"/>
                </a:lnTo>
                <a:lnTo>
                  <a:pt x="1052" y="1970"/>
                </a:lnTo>
                <a:close/>
                <a:moveTo>
                  <a:pt x="1016" y="2154"/>
                </a:moveTo>
                <a:lnTo>
                  <a:pt x="869" y="2154"/>
                </a:lnTo>
                <a:lnTo>
                  <a:pt x="942" y="2081"/>
                </a:lnTo>
                <a:lnTo>
                  <a:pt x="1016" y="2154"/>
                </a:lnTo>
                <a:close/>
                <a:moveTo>
                  <a:pt x="1028" y="2203"/>
                </a:moveTo>
                <a:lnTo>
                  <a:pt x="942" y="2289"/>
                </a:lnTo>
                <a:lnTo>
                  <a:pt x="869" y="2203"/>
                </a:lnTo>
                <a:lnTo>
                  <a:pt x="1028" y="2203"/>
                </a:lnTo>
                <a:close/>
                <a:moveTo>
                  <a:pt x="1052" y="2227"/>
                </a:moveTo>
                <a:lnTo>
                  <a:pt x="1052" y="2387"/>
                </a:lnTo>
                <a:lnTo>
                  <a:pt x="967" y="2313"/>
                </a:lnTo>
                <a:lnTo>
                  <a:pt x="1052" y="2227"/>
                </a:lnTo>
                <a:close/>
                <a:moveTo>
                  <a:pt x="1016" y="2411"/>
                </a:moveTo>
                <a:lnTo>
                  <a:pt x="869" y="2411"/>
                </a:lnTo>
                <a:lnTo>
                  <a:pt x="942" y="2338"/>
                </a:lnTo>
                <a:lnTo>
                  <a:pt x="1016" y="2411"/>
                </a:lnTo>
                <a:close/>
                <a:moveTo>
                  <a:pt x="1028" y="2460"/>
                </a:moveTo>
                <a:lnTo>
                  <a:pt x="942" y="2533"/>
                </a:lnTo>
                <a:lnTo>
                  <a:pt x="869" y="2460"/>
                </a:lnTo>
                <a:lnTo>
                  <a:pt x="1028" y="2460"/>
                </a:lnTo>
                <a:close/>
                <a:moveTo>
                  <a:pt x="1052" y="2484"/>
                </a:moveTo>
                <a:lnTo>
                  <a:pt x="1052" y="2644"/>
                </a:lnTo>
                <a:lnTo>
                  <a:pt x="967" y="2570"/>
                </a:lnTo>
                <a:lnTo>
                  <a:pt x="1052" y="2484"/>
                </a:lnTo>
                <a:close/>
                <a:moveTo>
                  <a:pt x="1052" y="1872"/>
                </a:moveTo>
                <a:lnTo>
                  <a:pt x="967" y="1799"/>
                </a:lnTo>
                <a:lnTo>
                  <a:pt x="1052" y="1713"/>
                </a:lnTo>
                <a:lnTo>
                  <a:pt x="1052" y="1872"/>
                </a:lnTo>
                <a:close/>
                <a:moveTo>
                  <a:pt x="942" y="1775"/>
                </a:moveTo>
                <a:lnTo>
                  <a:pt x="869" y="1689"/>
                </a:lnTo>
                <a:lnTo>
                  <a:pt x="1028" y="1689"/>
                </a:lnTo>
                <a:lnTo>
                  <a:pt x="942" y="1775"/>
                </a:lnTo>
                <a:close/>
                <a:moveTo>
                  <a:pt x="1003" y="392"/>
                </a:moveTo>
                <a:lnTo>
                  <a:pt x="942" y="453"/>
                </a:lnTo>
                <a:lnTo>
                  <a:pt x="881" y="392"/>
                </a:lnTo>
                <a:lnTo>
                  <a:pt x="1003" y="392"/>
                </a:lnTo>
                <a:close/>
                <a:moveTo>
                  <a:pt x="881" y="355"/>
                </a:moveTo>
                <a:lnTo>
                  <a:pt x="942" y="294"/>
                </a:lnTo>
                <a:lnTo>
                  <a:pt x="1003" y="355"/>
                </a:lnTo>
                <a:lnTo>
                  <a:pt x="881" y="355"/>
                </a:lnTo>
                <a:close/>
                <a:moveTo>
                  <a:pt x="1028" y="404"/>
                </a:moveTo>
                <a:lnTo>
                  <a:pt x="1028" y="538"/>
                </a:lnTo>
                <a:lnTo>
                  <a:pt x="967" y="465"/>
                </a:lnTo>
                <a:lnTo>
                  <a:pt x="1028" y="404"/>
                </a:lnTo>
                <a:close/>
                <a:moveTo>
                  <a:pt x="1003" y="551"/>
                </a:moveTo>
                <a:lnTo>
                  <a:pt x="881" y="551"/>
                </a:lnTo>
                <a:lnTo>
                  <a:pt x="942" y="490"/>
                </a:lnTo>
                <a:lnTo>
                  <a:pt x="1003" y="551"/>
                </a:lnTo>
                <a:close/>
                <a:moveTo>
                  <a:pt x="1028" y="930"/>
                </a:moveTo>
                <a:lnTo>
                  <a:pt x="1028" y="967"/>
                </a:lnTo>
                <a:lnTo>
                  <a:pt x="991" y="930"/>
                </a:lnTo>
                <a:lnTo>
                  <a:pt x="1028" y="930"/>
                </a:lnTo>
                <a:close/>
                <a:moveTo>
                  <a:pt x="954" y="930"/>
                </a:moveTo>
                <a:lnTo>
                  <a:pt x="991" y="967"/>
                </a:lnTo>
                <a:lnTo>
                  <a:pt x="881" y="967"/>
                </a:lnTo>
                <a:lnTo>
                  <a:pt x="930" y="930"/>
                </a:lnTo>
                <a:lnTo>
                  <a:pt x="954" y="930"/>
                </a:lnTo>
                <a:close/>
                <a:moveTo>
                  <a:pt x="1003" y="1016"/>
                </a:moveTo>
                <a:lnTo>
                  <a:pt x="942" y="1077"/>
                </a:lnTo>
                <a:lnTo>
                  <a:pt x="881" y="1016"/>
                </a:lnTo>
                <a:lnTo>
                  <a:pt x="1003" y="1016"/>
                </a:lnTo>
                <a:close/>
                <a:moveTo>
                  <a:pt x="1028" y="1028"/>
                </a:moveTo>
                <a:lnTo>
                  <a:pt x="1028" y="1163"/>
                </a:lnTo>
                <a:lnTo>
                  <a:pt x="954" y="1089"/>
                </a:lnTo>
                <a:lnTo>
                  <a:pt x="1028" y="1028"/>
                </a:lnTo>
                <a:close/>
                <a:moveTo>
                  <a:pt x="991" y="1163"/>
                </a:moveTo>
                <a:lnTo>
                  <a:pt x="881" y="1163"/>
                </a:lnTo>
                <a:lnTo>
                  <a:pt x="942" y="1114"/>
                </a:lnTo>
                <a:lnTo>
                  <a:pt x="991" y="1163"/>
                </a:lnTo>
                <a:close/>
                <a:moveTo>
                  <a:pt x="1003" y="1212"/>
                </a:moveTo>
                <a:lnTo>
                  <a:pt x="942" y="1273"/>
                </a:lnTo>
                <a:lnTo>
                  <a:pt x="881" y="1212"/>
                </a:lnTo>
                <a:lnTo>
                  <a:pt x="1003" y="1212"/>
                </a:lnTo>
                <a:close/>
                <a:moveTo>
                  <a:pt x="1028" y="1224"/>
                </a:moveTo>
                <a:lnTo>
                  <a:pt x="1028" y="1358"/>
                </a:lnTo>
                <a:lnTo>
                  <a:pt x="954" y="1285"/>
                </a:lnTo>
                <a:lnTo>
                  <a:pt x="1028" y="1224"/>
                </a:lnTo>
                <a:close/>
                <a:moveTo>
                  <a:pt x="991" y="1371"/>
                </a:moveTo>
                <a:lnTo>
                  <a:pt x="881" y="1371"/>
                </a:lnTo>
                <a:lnTo>
                  <a:pt x="942" y="1310"/>
                </a:lnTo>
                <a:lnTo>
                  <a:pt x="991" y="1371"/>
                </a:lnTo>
                <a:close/>
                <a:moveTo>
                  <a:pt x="1003" y="1407"/>
                </a:moveTo>
                <a:lnTo>
                  <a:pt x="942" y="1469"/>
                </a:lnTo>
                <a:lnTo>
                  <a:pt x="881" y="1407"/>
                </a:lnTo>
                <a:lnTo>
                  <a:pt x="1003" y="1407"/>
                </a:lnTo>
                <a:close/>
                <a:moveTo>
                  <a:pt x="1028" y="1420"/>
                </a:moveTo>
                <a:lnTo>
                  <a:pt x="1028" y="1554"/>
                </a:lnTo>
                <a:lnTo>
                  <a:pt x="954" y="1481"/>
                </a:lnTo>
                <a:lnTo>
                  <a:pt x="1028" y="1420"/>
                </a:lnTo>
                <a:close/>
                <a:moveTo>
                  <a:pt x="1028" y="343"/>
                </a:moveTo>
                <a:lnTo>
                  <a:pt x="967" y="269"/>
                </a:lnTo>
                <a:lnTo>
                  <a:pt x="1028" y="208"/>
                </a:lnTo>
                <a:lnTo>
                  <a:pt x="1028" y="343"/>
                </a:lnTo>
                <a:close/>
                <a:moveTo>
                  <a:pt x="1003" y="196"/>
                </a:moveTo>
                <a:lnTo>
                  <a:pt x="942" y="257"/>
                </a:lnTo>
                <a:lnTo>
                  <a:pt x="881" y="196"/>
                </a:lnTo>
                <a:lnTo>
                  <a:pt x="1003" y="196"/>
                </a:lnTo>
                <a:close/>
                <a:moveTo>
                  <a:pt x="857" y="208"/>
                </a:moveTo>
                <a:lnTo>
                  <a:pt x="918" y="269"/>
                </a:lnTo>
                <a:lnTo>
                  <a:pt x="857" y="330"/>
                </a:lnTo>
                <a:lnTo>
                  <a:pt x="857" y="208"/>
                </a:lnTo>
                <a:close/>
                <a:moveTo>
                  <a:pt x="857" y="404"/>
                </a:moveTo>
                <a:lnTo>
                  <a:pt x="918" y="465"/>
                </a:lnTo>
                <a:lnTo>
                  <a:pt x="857" y="526"/>
                </a:lnTo>
                <a:lnTo>
                  <a:pt x="857" y="404"/>
                </a:lnTo>
                <a:close/>
                <a:moveTo>
                  <a:pt x="857" y="930"/>
                </a:moveTo>
                <a:lnTo>
                  <a:pt x="881" y="930"/>
                </a:lnTo>
                <a:lnTo>
                  <a:pt x="857" y="955"/>
                </a:lnTo>
                <a:lnTo>
                  <a:pt x="857" y="930"/>
                </a:lnTo>
                <a:close/>
                <a:moveTo>
                  <a:pt x="857" y="1028"/>
                </a:moveTo>
                <a:lnTo>
                  <a:pt x="918" y="1089"/>
                </a:lnTo>
                <a:lnTo>
                  <a:pt x="857" y="1150"/>
                </a:lnTo>
                <a:lnTo>
                  <a:pt x="857" y="1028"/>
                </a:lnTo>
                <a:close/>
                <a:moveTo>
                  <a:pt x="857" y="1224"/>
                </a:moveTo>
                <a:lnTo>
                  <a:pt x="918" y="1285"/>
                </a:lnTo>
                <a:lnTo>
                  <a:pt x="857" y="1346"/>
                </a:lnTo>
                <a:lnTo>
                  <a:pt x="857" y="1224"/>
                </a:lnTo>
                <a:close/>
                <a:moveTo>
                  <a:pt x="857" y="1432"/>
                </a:moveTo>
                <a:lnTo>
                  <a:pt x="918" y="1481"/>
                </a:lnTo>
                <a:lnTo>
                  <a:pt x="857" y="1542"/>
                </a:lnTo>
                <a:lnTo>
                  <a:pt x="857" y="1432"/>
                </a:lnTo>
                <a:close/>
                <a:moveTo>
                  <a:pt x="857" y="1591"/>
                </a:moveTo>
                <a:lnTo>
                  <a:pt x="942" y="1505"/>
                </a:lnTo>
                <a:lnTo>
                  <a:pt x="1028" y="1591"/>
                </a:lnTo>
                <a:lnTo>
                  <a:pt x="1028" y="1640"/>
                </a:lnTo>
                <a:lnTo>
                  <a:pt x="857" y="1640"/>
                </a:lnTo>
                <a:lnTo>
                  <a:pt x="857" y="1591"/>
                </a:lnTo>
                <a:close/>
                <a:moveTo>
                  <a:pt x="844" y="1713"/>
                </a:moveTo>
                <a:lnTo>
                  <a:pt x="918" y="1799"/>
                </a:lnTo>
                <a:lnTo>
                  <a:pt x="844" y="1872"/>
                </a:lnTo>
                <a:lnTo>
                  <a:pt x="844" y="1713"/>
                </a:lnTo>
                <a:close/>
                <a:moveTo>
                  <a:pt x="844" y="1970"/>
                </a:moveTo>
                <a:lnTo>
                  <a:pt x="918" y="2056"/>
                </a:lnTo>
                <a:lnTo>
                  <a:pt x="844" y="2130"/>
                </a:lnTo>
                <a:lnTo>
                  <a:pt x="844" y="1970"/>
                </a:lnTo>
                <a:close/>
                <a:moveTo>
                  <a:pt x="844" y="2227"/>
                </a:moveTo>
                <a:lnTo>
                  <a:pt x="918" y="2313"/>
                </a:lnTo>
                <a:lnTo>
                  <a:pt x="844" y="2387"/>
                </a:lnTo>
                <a:lnTo>
                  <a:pt x="844" y="2227"/>
                </a:lnTo>
                <a:close/>
                <a:moveTo>
                  <a:pt x="844" y="2484"/>
                </a:moveTo>
                <a:lnTo>
                  <a:pt x="918" y="2570"/>
                </a:lnTo>
                <a:lnTo>
                  <a:pt x="844" y="2644"/>
                </a:lnTo>
                <a:lnTo>
                  <a:pt x="844" y="2484"/>
                </a:lnTo>
                <a:close/>
                <a:moveTo>
                  <a:pt x="844" y="2692"/>
                </a:moveTo>
                <a:lnTo>
                  <a:pt x="942" y="2595"/>
                </a:lnTo>
                <a:lnTo>
                  <a:pt x="1052" y="2705"/>
                </a:lnTo>
                <a:lnTo>
                  <a:pt x="1052" y="2705"/>
                </a:lnTo>
                <a:lnTo>
                  <a:pt x="1052" y="2729"/>
                </a:lnTo>
                <a:lnTo>
                  <a:pt x="844" y="2729"/>
                </a:lnTo>
                <a:lnTo>
                  <a:pt x="844" y="2692"/>
                </a:lnTo>
                <a:close/>
                <a:moveTo>
                  <a:pt x="844" y="2815"/>
                </a:moveTo>
                <a:lnTo>
                  <a:pt x="918" y="2888"/>
                </a:lnTo>
                <a:lnTo>
                  <a:pt x="844" y="2974"/>
                </a:lnTo>
                <a:lnTo>
                  <a:pt x="844" y="2815"/>
                </a:lnTo>
                <a:close/>
                <a:moveTo>
                  <a:pt x="844" y="3072"/>
                </a:moveTo>
                <a:lnTo>
                  <a:pt x="918" y="3145"/>
                </a:lnTo>
                <a:lnTo>
                  <a:pt x="844" y="3231"/>
                </a:lnTo>
                <a:lnTo>
                  <a:pt x="844" y="3072"/>
                </a:lnTo>
                <a:close/>
                <a:moveTo>
                  <a:pt x="844" y="3329"/>
                </a:moveTo>
                <a:lnTo>
                  <a:pt x="918" y="3402"/>
                </a:lnTo>
                <a:lnTo>
                  <a:pt x="844" y="3488"/>
                </a:lnTo>
                <a:lnTo>
                  <a:pt x="844" y="3329"/>
                </a:lnTo>
                <a:close/>
                <a:moveTo>
                  <a:pt x="844" y="3586"/>
                </a:moveTo>
                <a:lnTo>
                  <a:pt x="918" y="3659"/>
                </a:lnTo>
                <a:lnTo>
                  <a:pt x="844" y="3745"/>
                </a:lnTo>
                <a:lnTo>
                  <a:pt x="844" y="3586"/>
                </a:lnTo>
                <a:close/>
                <a:moveTo>
                  <a:pt x="281" y="673"/>
                </a:moveTo>
                <a:lnTo>
                  <a:pt x="306" y="673"/>
                </a:lnTo>
                <a:lnTo>
                  <a:pt x="281" y="710"/>
                </a:lnTo>
                <a:lnTo>
                  <a:pt x="281" y="673"/>
                </a:lnTo>
                <a:close/>
                <a:moveTo>
                  <a:pt x="281" y="808"/>
                </a:moveTo>
                <a:lnTo>
                  <a:pt x="281" y="771"/>
                </a:lnTo>
                <a:lnTo>
                  <a:pt x="318" y="808"/>
                </a:lnTo>
                <a:lnTo>
                  <a:pt x="281" y="808"/>
                </a:lnTo>
                <a:close/>
                <a:moveTo>
                  <a:pt x="330" y="783"/>
                </a:moveTo>
                <a:lnTo>
                  <a:pt x="281" y="734"/>
                </a:lnTo>
                <a:lnTo>
                  <a:pt x="330" y="685"/>
                </a:lnTo>
                <a:lnTo>
                  <a:pt x="330" y="783"/>
                </a:lnTo>
                <a:close/>
                <a:moveTo>
                  <a:pt x="416" y="734"/>
                </a:moveTo>
                <a:lnTo>
                  <a:pt x="367" y="783"/>
                </a:lnTo>
                <a:lnTo>
                  <a:pt x="367" y="685"/>
                </a:lnTo>
                <a:lnTo>
                  <a:pt x="416" y="734"/>
                </a:lnTo>
                <a:close/>
                <a:moveTo>
                  <a:pt x="379" y="673"/>
                </a:moveTo>
                <a:lnTo>
                  <a:pt x="477" y="673"/>
                </a:lnTo>
                <a:lnTo>
                  <a:pt x="428" y="722"/>
                </a:lnTo>
                <a:lnTo>
                  <a:pt x="379" y="673"/>
                </a:lnTo>
                <a:close/>
                <a:moveTo>
                  <a:pt x="367" y="808"/>
                </a:moveTo>
                <a:lnTo>
                  <a:pt x="428" y="747"/>
                </a:lnTo>
                <a:lnTo>
                  <a:pt x="477" y="808"/>
                </a:lnTo>
                <a:lnTo>
                  <a:pt x="367" y="808"/>
                </a:lnTo>
                <a:close/>
                <a:moveTo>
                  <a:pt x="489" y="783"/>
                </a:moveTo>
                <a:lnTo>
                  <a:pt x="440" y="734"/>
                </a:lnTo>
                <a:lnTo>
                  <a:pt x="489" y="685"/>
                </a:lnTo>
                <a:lnTo>
                  <a:pt x="489" y="783"/>
                </a:lnTo>
                <a:close/>
                <a:moveTo>
                  <a:pt x="575" y="734"/>
                </a:moveTo>
                <a:lnTo>
                  <a:pt x="526" y="783"/>
                </a:lnTo>
                <a:lnTo>
                  <a:pt x="526" y="685"/>
                </a:lnTo>
                <a:lnTo>
                  <a:pt x="575" y="734"/>
                </a:lnTo>
                <a:close/>
                <a:moveTo>
                  <a:pt x="538" y="673"/>
                </a:moveTo>
                <a:lnTo>
                  <a:pt x="648" y="673"/>
                </a:lnTo>
                <a:lnTo>
                  <a:pt x="587" y="722"/>
                </a:lnTo>
                <a:lnTo>
                  <a:pt x="538" y="673"/>
                </a:lnTo>
                <a:close/>
                <a:moveTo>
                  <a:pt x="538" y="808"/>
                </a:moveTo>
                <a:lnTo>
                  <a:pt x="587" y="747"/>
                </a:lnTo>
                <a:lnTo>
                  <a:pt x="648" y="808"/>
                </a:lnTo>
                <a:lnTo>
                  <a:pt x="538" y="808"/>
                </a:lnTo>
                <a:close/>
                <a:moveTo>
                  <a:pt x="661" y="783"/>
                </a:moveTo>
                <a:lnTo>
                  <a:pt x="612" y="734"/>
                </a:lnTo>
                <a:lnTo>
                  <a:pt x="661" y="685"/>
                </a:lnTo>
                <a:lnTo>
                  <a:pt x="661" y="783"/>
                </a:lnTo>
                <a:close/>
                <a:moveTo>
                  <a:pt x="771" y="808"/>
                </a:moveTo>
                <a:lnTo>
                  <a:pt x="697" y="808"/>
                </a:lnTo>
                <a:lnTo>
                  <a:pt x="759" y="747"/>
                </a:lnTo>
                <a:lnTo>
                  <a:pt x="771" y="771"/>
                </a:lnTo>
                <a:lnTo>
                  <a:pt x="771" y="808"/>
                </a:lnTo>
                <a:close/>
                <a:moveTo>
                  <a:pt x="697" y="783"/>
                </a:moveTo>
                <a:lnTo>
                  <a:pt x="697" y="685"/>
                </a:lnTo>
                <a:lnTo>
                  <a:pt x="746" y="734"/>
                </a:lnTo>
                <a:lnTo>
                  <a:pt x="697" y="783"/>
                </a:lnTo>
                <a:close/>
                <a:moveTo>
                  <a:pt x="771" y="698"/>
                </a:moveTo>
                <a:lnTo>
                  <a:pt x="759" y="722"/>
                </a:lnTo>
                <a:lnTo>
                  <a:pt x="710" y="673"/>
                </a:lnTo>
                <a:lnTo>
                  <a:pt x="771" y="673"/>
                </a:lnTo>
                <a:lnTo>
                  <a:pt x="771" y="698"/>
                </a:lnTo>
                <a:close/>
                <a:moveTo>
                  <a:pt x="771" y="551"/>
                </a:moveTo>
                <a:lnTo>
                  <a:pt x="771" y="636"/>
                </a:lnTo>
                <a:lnTo>
                  <a:pt x="697" y="636"/>
                </a:lnTo>
                <a:lnTo>
                  <a:pt x="661" y="636"/>
                </a:lnTo>
                <a:lnTo>
                  <a:pt x="526" y="636"/>
                </a:lnTo>
                <a:lnTo>
                  <a:pt x="489" y="636"/>
                </a:lnTo>
                <a:lnTo>
                  <a:pt x="367" y="636"/>
                </a:lnTo>
                <a:lnTo>
                  <a:pt x="330" y="636"/>
                </a:lnTo>
                <a:lnTo>
                  <a:pt x="318" y="636"/>
                </a:lnTo>
                <a:lnTo>
                  <a:pt x="820" y="171"/>
                </a:lnTo>
                <a:lnTo>
                  <a:pt x="820" y="196"/>
                </a:lnTo>
                <a:lnTo>
                  <a:pt x="820" y="355"/>
                </a:lnTo>
                <a:lnTo>
                  <a:pt x="820" y="392"/>
                </a:lnTo>
                <a:lnTo>
                  <a:pt x="820" y="551"/>
                </a:lnTo>
                <a:lnTo>
                  <a:pt x="820" y="551"/>
                </a:lnTo>
                <a:lnTo>
                  <a:pt x="771" y="551"/>
                </a:lnTo>
                <a:close/>
                <a:moveTo>
                  <a:pt x="844" y="3794"/>
                </a:moveTo>
                <a:lnTo>
                  <a:pt x="942" y="3684"/>
                </a:lnTo>
                <a:lnTo>
                  <a:pt x="1052" y="3794"/>
                </a:lnTo>
                <a:lnTo>
                  <a:pt x="1052" y="3794"/>
                </a:lnTo>
                <a:lnTo>
                  <a:pt x="1052" y="3818"/>
                </a:lnTo>
                <a:lnTo>
                  <a:pt x="844" y="3818"/>
                </a:lnTo>
                <a:lnTo>
                  <a:pt x="844" y="3794"/>
                </a:lnTo>
                <a:close/>
              </a:path>
            </a:pathLst>
          </a:custGeom>
          <a:solidFill>
            <a:srgbClr val="63666A"/>
          </a:solidFill>
          <a:ln>
            <a:noFill/>
          </a:ln>
        </p:spPr>
        <p:txBody>
          <a:bodyPr vert="horz" wrap="square" lIns="45720" tIns="22860" rIns="45720" bIns="22860" numCol="1" anchor="t" anchorCtr="0" compatLnSpc="1">
            <a:prstTxWarp prst="textNoShape">
              <a:avLst/>
            </a:prstTxWarp>
          </a:bodyPr>
          <a:lstStyle/>
          <a:p>
            <a:endParaRPr lang="th-TH" sz="900"/>
          </a:p>
        </p:txBody>
      </p:sp>
    </p:spTree>
    <p:extLst>
      <p:ext uri="{BB962C8B-B14F-4D97-AF65-F5344CB8AC3E}">
        <p14:creationId xmlns:p14="http://schemas.microsoft.com/office/powerpoint/2010/main" val="42168919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hasCustomPrompt="1"/>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dirty="0"/>
              <a:t>Advanced graphics timesaver</a:t>
            </a:r>
          </a:p>
          <a:p>
            <a:pPr lvl="0"/>
            <a:endParaRPr lang="en-US" dirty="0"/>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293113764"/>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2899996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57251446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78493230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6768524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49571526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73160595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2.vml"/><Relationship Id="rId3" Type="http://schemas.openxmlformats.org/officeDocument/2006/relationships/slideLayout" Target="../slideLayouts/slideLayout31.xml"/><Relationship Id="rId7" Type="http://schemas.openxmlformats.org/officeDocument/2006/relationships/theme" Target="../theme/theme2.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image" Target="../media/image1.emf"/><Relationship Id="rId5" Type="http://schemas.openxmlformats.org/officeDocument/2006/relationships/slideLayout" Target="../slideLayouts/slideLayout33.xml"/><Relationship Id="rId10" Type="http://schemas.openxmlformats.org/officeDocument/2006/relationships/oleObject" Target="../embeddings/oleObject2.bin"/><Relationship Id="rId4" Type="http://schemas.openxmlformats.org/officeDocument/2006/relationships/slideLayout" Target="../slideLayouts/slideLayout32.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1"/>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69" name="think-cell Slide" r:id="rId32" imgW="270" imgH="270" progId="TCLayout.ActiveDocument.1">
                  <p:embed/>
                </p:oleObj>
              </mc:Choice>
              <mc:Fallback>
                <p:oleObj name="think-cell Slide" r:id="rId32" imgW="270" imgH="270" progId="TCLayout.ActiveDocument.1">
                  <p:embed/>
                  <p:pic>
                    <p:nvPicPr>
                      <p:cNvPr id="4" name="Object 3" hidden="1"/>
                      <p:cNvPicPr/>
                      <p:nvPr/>
                    </p:nvPicPr>
                    <p:blipFill>
                      <a:blip r:embed="rId33"/>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Presentation title</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885500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p15:clr>
            <a:srgbClr val="F26B43"/>
          </p15:clr>
        </p15:guide>
        <p15:guide id="51" orient="horz" pos="4080">
          <p15:clr>
            <a:srgbClr val="F26B43"/>
          </p15:clr>
        </p15:guide>
        <p15:guide id="52" pos="3840">
          <p15:clr>
            <a:srgbClr val="F26B43"/>
          </p15:clr>
        </p15:guide>
        <p15:guide id="53" pos="3912">
          <p15:clr>
            <a:srgbClr val="F26B43"/>
          </p15:clr>
        </p15:guide>
        <p15:guide id="54" pos="3768">
          <p15:clr>
            <a:srgbClr val="F26B43"/>
          </p15:clr>
        </p15:guide>
        <p15:guide id="55" pos="4968">
          <p15:clr>
            <a:srgbClr val="F26B43"/>
          </p15:clr>
        </p15:guide>
        <p15:guide id="56" pos="5088">
          <p15:clr>
            <a:srgbClr val="F26B43"/>
          </p15:clr>
        </p15:guide>
        <p15:guide id="57" pos="6168">
          <p15:clr>
            <a:srgbClr val="F26B43"/>
          </p15:clr>
        </p15:guide>
        <p15:guide id="58" pos="6288">
          <p15:clr>
            <a:srgbClr val="F26B43"/>
          </p15:clr>
        </p15:guide>
        <p15:guide id="59" pos="2712">
          <p15:clr>
            <a:srgbClr val="F26B43"/>
          </p15:clr>
        </p15:guide>
        <p15:guide id="60" pos="2592">
          <p15:clr>
            <a:srgbClr val="F26B43"/>
          </p15:clr>
        </p15:guide>
        <p15:guide id="61" pos="1512">
          <p15:clr>
            <a:srgbClr val="F26B43"/>
          </p15:clr>
        </p15:guide>
        <p15:guide id="62" pos="1392">
          <p15:clr>
            <a:srgbClr val="F26B43"/>
          </p15:clr>
        </p15:guide>
        <p15:guide id="63" pos="312">
          <p15:clr>
            <a:srgbClr val="F26B43"/>
          </p15:clr>
        </p15:guide>
        <p15:guide id="64" orient="horz" pos="1056">
          <p15:clr>
            <a:srgbClr val="F26B43"/>
          </p15:clr>
        </p15:guide>
        <p15:guide id="65" orient="horz" pos="2232">
          <p15:clr>
            <a:srgbClr val="F26B43"/>
          </p15:clr>
        </p15:guide>
        <p15:guide id="66" orient="horz" pos="1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extLst>
              <p:ext uri="{D42A27DB-BD31-4B8C-83A1-F6EECF244321}">
                <p14:modId xmlns:p14="http://schemas.microsoft.com/office/powerpoint/2010/main" val="320642990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081"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9" name="TextBox 8">
            <a:extLst>
              <a:ext uri="{FF2B5EF4-FFF2-40B4-BE49-F238E27FC236}">
                <a16:creationId xmlns:a16="http://schemas.microsoft.com/office/drawing/2014/main" id="{0577D2A3-6C5A-2444-AA59-749218F7F4E0}"/>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 2021. For information, contact Deloitte Global</a:t>
            </a:r>
          </a:p>
        </p:txBody>
      </p:sp>
      <p:sp>
        <p:nvSpPr>
          <p:cNvPr id="10" name="TextBox 9">
            <a:extLst>
              <a:ext uri="{FF2B5EF4-FFF2-40B4-BE49-F238E27FC236}">
                <a16:creationId xmlns:a16="http://schemas.microsoft.com/office/drawing/2014/main" id="{00C86A3D-99F6-5145-AAE2-E4DCFB9A8B86}"/>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Advanced graphics timesaver</a:t>
            </a:r>
          </a:p>
        </p:txBody>
      </p:sp>
      <p:sp>
        <p:nvSpPr>
          <p:cNvPr id="11" name="TextBox 10">
            <a:extLst>
              <a:ext uri="{FF2B5EF4-FFF2-40B4-BE49-F238E27FC236}">
                <a16:creationId xmlns:a16="http://schemas.microsoft.com/office/drawing/2014/main" id="{CC403D44-5C3F-9E42-A9BF-3F2D6C6B851B}"/>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1607242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tif"/><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15.xml"/><Relationship Id="rId5" Type="http://schemas.openxmlformats.org/officeDocument/2006/relationships/image" Target="../media/image7.sv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2F03B24-5911-487D-A541-83315BB92292}"/>
              </a:ext>
            </a:extLst>
          </p:cNvPr>
          <p:cNvSpPr>
            <a:spLocks noGrp="1"/>
          </p:cNvSpPr>
          <p:nvPr>
            <p:ph type="ctrTitle"/>
          </p:nvPr>
        </p:nvSpPr>
        <p:spPr/>
        <p:txBody>
          <a:bodyPr/>
          <a:lstStyle/>
          <a:p>
            <a:r>
              <a:rPr lang="en-US" dirty="0"/>
              <a:t>AI Academy Capstone Project</a:t>
            </a:r>
            <a:endParaRPr lang="en-US" dirty="0">
              <a:solidFill>
                <a:schemeClr val="bg1"/>
              </a:solidFill>
            </a:endParaRPr>
          </a:p>
        </p:txBody>
      </p:sp>
      <p:sp>
        <p:nvSpPr>
          <p:cNvPr id="5" name="Text Placeholder 4">
            <a:extLst>
              <a:ext uri="{FF2B5EF4-FFF2-40B4-BE49-F238E27FC236}">
                <a16:creationId xmlns:a16="http://schemas.microsoft.com/office/drawing/2014/main" id="{5B17207E-7FD3-4B75-ADFE-CC565F8DB8A1}"/>
              </a:ext>
            </a:extLst>
          </p:cNvPr>
          <p:cNvSpPr>
            <a:spLocks noGrp="1"/>
          </p:cNvSpPr>
          <p:nvPr>
            <p:ph type="body" sz="quarter" idx="10"/>
          </p:nvPr>
        </p:nvSpPr>
        <p:spPr/>
        <p:txBody>
          <a:bodyPr>
            <a:noAutofit/>
          </a:bodyPr>
          <a:lstStyle/>
          <a:p>
            <a:r>
              <a:rPr lang="en-US" dirty="0"/>
              <a:t>Subtitle, date or author second line</a:t>
            </a:r>
          </a:p>
        </p:txBody>
      </p:sp>
      <p:pic>
        <p:nvPicPr>
          <p:cNvPr id="11" name="Picture 10">
            <a:extLst>
              <a:ext uri="{FF2B5EF4-FFF2-40B4-BE49-F238E27FC236}">
                <a16:creationId xmlns:a16="http://schemas.microsoft.com/office/drawing/2014/main" id="{24091ED7-C412-487B-88AC-F1B76F6BA2F2}"/>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0694852" y="5659120"/>
            <a:ext cx="1198880" cy="1198880"/>
          </a:xfrm>
          <a:prstGeom prst="rect">
            <a:avLst/>
          </a:prstGeom>
        </p:spPr>
      </p:pic>
      <p:pic>
        <p:nvPicPr>
          <p:cNvPr id="3" name="Picture 2" descr="A picture containing text, vector graphics&#10;&#10;Description automatically generated">
            <a:extLst>
              <a:ext uri="{FF2B5EF4-FFF2-40B4-BE49-F238E27FC236}">
                <a16:creationId xmlns:a16="http://schemas.microsoft.com/office/drawing/2014/main" id="{65C1B8E5-A0A9-4B2A-9501-2265A0F5F7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4716" y="-1405"/>
            <a:ext cx="6858000" cy="6858000"/>
          </a:xfrm>
          <a:prstGeom prst="rect">
            <a:avLst/>
          </a:prstGeom>
        </p:spPr>
      </p:pic>
    </p:spTree>
    <p:extLst>
      <p:ext uri="{BB962C8B-B14F-4D97-AF65-F5344CB8AC3E}">
        <p14:creationId xmlns:p14="http://schemas.microsoft.com/office/powerpoint/2010/main" val="139569154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62DCEF-3D8C-4E29-8B65-84F7EBF133D8}"/>
              </a:ext>
            </a:extLst>
          </p:cNvPr>
          <p:cNvSpPr>
            <a:spLocks noGrp="1"/>
          </p:cNvSpPr>
          <p:nvPr>
            <p:ph type="title"/>
          </p:nvPr>
        </p:nvSpPr>
        <p:spPr/>
        <p:txBody>
          <a:bodyPr/>
          <a:lstStyle/>
          <a:p>
            <a:r>
              <a:rPr lang="en-US" dirty="0"/>
              <a:t>Overview</a:t>
            </a:r>
          </a:p>
        </p:txBody>
      </p:sp>
      <p:sp>
        <p:nvSpPr>
          <p:cNvPr id="6" name="Oval 5">
            <a:extLst>
              <a:ext uri="{FF2B5EF4-FFF2-40B4-BE49-F238E27FC236}">
                <a16:creationId xmlns:a16="http://schemas.microsoft.com/office/drawing/2014/main" id="{914B90A7-B058-4871-B035-1795BD52B12C}"/>
              </a:ext>
            </a:extLst>
          </p:cNvPr>
          <p:cNvSpPr/>
          <p:nvPr/>
        </p:nvSpPr>
        <p:spPr bwMode="gray">
          <a:xfrm>
            <a:off x="680988" y="3070532"/>
            <a:ext cx="846729" cy="787790"/>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Oval 8">
            <a:extLst>
              <a:ext uri="{FF2B5EF4-FFF2-40B4-BE49-F238E27FC236}">
                <a16:creationId xmlns:a16="http://schemas.microsoft.com/office/drawing/2014/main" id="{E332E7C5-5F8C-46A8-A9E0-C0D0DC06A6FB}"/>
              </a:ext>
            </a:extLst>
          </p:cNvPr>
          <p:cNvSpPr/>
          <p:nvPr/>
        </p:nvSpPr>
        <p:spPr bwMode="gray">
          <a:xfrm>
            <a:off x="709552" y="4694662"/>
            <a:ext cx="787789" cy="718357"/>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8E7A434B-E993-4288-8D2F-CBF7769B4912}"/>
              </a:ext>
            </a:extLst>
          </p:cNvPr>
          <p:cNvSpPr/>
          <p:nvPr/>
        </p:nvSpPr>
        <p:spPr bwMode="gray">
          <a:xfrm>
            <a:off x="501650" y="6367346"/>
            <a:ext cx="3390126" cy="379142"/>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25" name="Rectangle 24">
            <a:extLst>
              <a:ext uri="{FF2B5EF4-FFF2-40B4-BE49-F238E27FC236}">
                <a16:creationId xmlns:a16="http://schemas.microsoft.com/office/drawing/2014/main" id="{3913FA15-E8F2-4B83-AB05-CE67FF493EF4}"/>
              </a:ext>
            </a:extLst>
          </p:cNvPr>
          <p:cNvSpPr/>
          <p:nvPr/>
        </p:nvSpPr>
        <p:spPr bwMode="gray">
          <a:xfrm>
            <a:off x="7969251" y="6467707"/>
            <a:ext cx="3390126" cy="379142"/>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graphicFrame>
        <p:nvGraphicFramePr>
          <p:cNvPr id="2" name="Table 6">
            <a:extLst>
              <a:ext uri="{FF2B5EF4-FFF2-40B4-BE49-F238E27FC236}">
                <a16:creationId xmlns:a16="http://schemas.microsoft.com/office/drawing/2014/main" id="{BC63EC16-84B6-4ACE-BA81-BAF43E85B035}"/>
              </a:ext>
            </a:extLst>
          </p:cNvPr>
          <p:cNvGraphicFramePr>
            <a:graphicFrameLocks noGrp="1"/>
          </p:cNvGraphicFramePr>
          <p:nvPr>
            <p:extLst>
              <p:ext uri="{D42A27DB-BD31-4B8C-83A1-F6EECF244321}">
                <p14:modId xmlns:p14="http://schemas.microsoft.com/office/powerpoint/2010/main" val="1317656723"/>
              </p:ext>
            </p:extLst>
          </p:nvPr>
        </p:nvGraphicFramePr>
        <p:xfrm>
          <a:off x="501650" y="973502"/>
          <a:ext cx="10738780" cy="4488799"/>
        </p:xfrm>
        <a:graphic>
          <a:graphicData uri="http://schemas.openxmlformats.org/drawingml/2006/table">
            <a:tbl>
              <a:tblPr firstRow="1" bandRow="1">
                <a:tableStyleId>{3B4B98B0-60AC-42C2-AFA5-B58CD77FA1E5}</a:tableStyleId>
              </a:tblPr>
              <a:tblGrid>
                <a:gridCol w="5369390">
                  <a:extLst>
                    <a:ext uri="{9D8B030D-6E8A-4147-A177-3AD203B41FA5}">
                      <a16:colId xmlns:a16="http://schemas.microsoft.com/office/drawing/2014/main" val="699914989"/>
                    </a:ext>
                  </a:extLst>
                </a:gridCol>
                <a:gridCol w="5369390">
                  <a:extLst>
                    <a:ext uri="{9D8B030D-6E8A-4147-A177-3AD203B41FA5}">
                      <a16:colId xmlns:a16="http://schemas.microsoft.com/office/drawing/2014/main" val="2647932906"/>
                    </a:ext>
                  </a:extLst>
                </a:gridCol>
              </a:tblGrid>
              <a:tr h="641257">
                <a:tc>
                  <a:txBody>
                    <a:bodyPr/>
                    <a:lstStyle/>
                    <a:p>
                      <a:r>
                        <a:rPr lang="en-US" b="0" dirty="0"/>
                        <a:t>Business Understanding</a:t>
                      </a:r>
                    </a:p>
                  </a:txBody>
                  <a:tcP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lvl="1" algn="r"/>
                      <a:r>
                        <a:rPr lang="en-US" b="0" dirty="0"/>
                        <a:t>3</a:t>
                      </a:r>
                    </a:p>
                  </a:txBody>
                  <a:tcP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714928809"/>
                  </a:ext>
                </a:extLst>
              </a:tr>
              <a:tr h="641257">
                <a:tc>
                  <a:txBody>
                    <a:bodyPr/>
                    <a:lstStyle/>
                    <a:p>
                      <a:r>
                        <a:rPr lang="en-US" dirty="0"/>
                        <a:t>Data Understanding</a:t>
                      </a:r>
                    </a:p>
                  </a:txBody>
                  <a:tcPr>
                    <a:lnL>
                      <a:noFill/>
                    </a:lnL>
                    <a:lnR>
                      <a:noFill/>
                    </a:lnR>
                    <a:lnT w="12700" cmpd="sng">
                      <a:noFill/>
                    </a:lnT>
                    <a:lnB>
                      <a:noFill/>
                    </a:lnB>
                    <a:lnTlToBr w="12700" cmpd="sng">
                      <a:noFill/>
                      <a:prstDash val="solid"/>
                    </a:lnTlToBr>
                    <a:lnBlToTr w="12700" cmpd="sng">
                      <a:noFill/>
                      <a:prstDash val="solid"/>
                    </a:lnBlToTr>
                  </a:tcPr>
                </a:tc>
                <a:tc>
                  <a:txBody>
                    <a:bodyPr/>
                    <a:lstStyle/>
                    <a:p>
                      <a:pPr algn="r"/>
                      <a:r>
                        <a:rPr lang="en-US" dirty="0"/>
                        <a:t>4</a:t>
                      </a: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80062643"/>
                  </a:ext>
                </a:extLst>
              </a:tr>
              <a:tr h="641257">
                <a:tc>
                  <a:txBody>
                    <a:bodyPr/>
                    <a:lstStyle/>
                    <a:p>
                      <a:r>
                        <a:rPr lang="en-US" dirty="0"/>
                        <a:t>Data Analysis</a:t>
                      </a:r>
                    </a:p>
                  </a:txBody>
                  <a:tcPr>
                    <a:lnL>
                      <a:noFill/>
                    </a:lnL>
                    <a:lnR>
                      <a:noFill/>
                    </a:lnR>
                    <a:lnT>
                      <a:noFill/>
                    </a:lnT>
                    <a:lnB>
                      <a:noFill/>
                    </a:lnB>
                    <a:lnTlToBr w="12700" cmpd="sng">
                      <a:noFill/>
                      <a:prstDash val="solid"/>
                    </a:lnTlToBr>
                    <a:lnBlToTr w="12700" cmpd="sng">
                      <a:noFill/>
                      <a:prstDash val="solid"/>
                    </a:lnBlToTr>
                  </a:tcPr>
                </a:tc>
                <a:tc>
                  <a:txBody>
                    <a:bodyPr/>
                    <a:lstStyle/>
                    <a:p>
                      <a:pPr algn="r"/>
                      <a:r>
                        <a:rPr lang="en-US" dirty="0"/>
                        <a:t>5</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678443958"/>
                  </a:ext>
                </a:extLst>
              </a:tr>
              <a:tr h="641257">
                <a:tc>
                  <a:txBody>
                    <a:bodyPr/>
                    <a:lstStyle/>
                    <a:p>
                      <a:r>
                        <a:rPr lang="en-US" dirty="0"/>
                        <a:t>Statistical Analysis</a:t>
                      </a:r>
                    </a:p>
                  </a:txBody>
                  <a:tcPr>
                    <a:lnL>
                      <a:noFill/>
                    </a:lnL>
                    <a:lnR>
                      <a:noFill/>
                    </a:lnR>
                    <a:lnT>
                      <a:noFill/>
                    </a:lnT>
                    <a:lnB>
                      <a:noFill/>
                    </a:lnB>
                    <a:lnTlToBr w="12700" cmpd="sng">
                      <a:noFill/>
                      <a:prstDash val="solid"/>
                    </a:lnTlToBr>
                    <a:lnBlToTr w="12700" cmpd="sng">
                      <a:noFill/>
                      <a:prstDash val="solid"/>
                    </a:lnBlToTr>
                  </a:tcPr>
                </a:tc>
                <a:tc>
                  <a:txBody>
                    <a:bodyPr/>
                    <a:lstStyle/>
                    <a:p>
                      <a:pPr algn="r"/>
                      <a:r>
                        <a:rPr lang="en-US" dirty="0"/>
                        <a:t>6</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36147981"/>
                  </a:ext>
                </a:extLst>
              </a:tr>
              <a:tr h="641257">
                <a:tc>
                  <a:txBody>
                    <a:bodyPr/>
                    <a:lstStyle/>
                    <a:p>
                      <a:r>
                        <a:rPr lang="en-US" dirty="0"/>
                        <a:t>Recommendation</a:t>
                      </a:r>
                    </a:p>
                  </a:txBody>
                  <a:tcPr>
                    <a:lnL>
                      <a:noFill/>
                    </a:lnL>
                    <a:lnR>
                      <a:noFill/>
                    </a:lnR>
                    <a:lnT>
                      <a:noFill/>
                    </a:lnT>
                    <a:lnB>
                      <a:noFill/>
                    </a:lnB>
                    <a:lnTlToBr w="12700" cmpd="sng">
                      <a:noFill/>
                      <a:prstDash val="solid"/>
                    </a:lnTlToBr>
                    <a:lnBlToTr w="12700" cmpd="sng">
                      <a:noFill/>
                      <a:prstDash val="solid"/>
                    </a:lnBlToTr>
                  </a:tcPr>
                </a:tc>
                <a:tc>
                  <a:txBody>
                    <a:bodyPr/>
                    <a:lstStyle/>
                    <a:p>
                      <a:pPr algn="r"/>
                      <a:r>
                        <a:rPr lang="en-US" dirty="0"/>
                        <a:t>7</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942755476"/>
                  </a:ext>
                </a:extLst>
              </a:tr>
              <a:tr h="641257">
                <a:tc>
                  <a:txBody>
                    <a:bodyPr/>
                    <a:lstStyle/>
                    <a:p>
                      <a:r>
                        <a:rPr lang="en-US" dirty="0"/>
                        <a:t>Next Steps</a:t>
                      </a:r>
                    </a:p>
                  </a:txBody>
                  <a:tcPr>
                    <a:lnL>
                      <a:noFill/>
                    </a:lnL>
                    <a:lnR>
                      <a:noFill/>
                    </a:lnR>
                    <a:lnT>
                      <a:noFill/>
                    </a:lnT>
                    <a:lnB>
                      <a:noFill/>
                    </a:lnB>
                    <a:lnTlToBr w="12700" cmpd="sng">
                      <a:noFill/>
                      <a:prstDash val="solid"/>
                    </a:lnTlToBr>
                    <a:lnBlToTr w="12700" cmpd="sng">
                      <a:noFill/>
                      <a:prstDash val="solid"/>
                    </a:lnBlToTr>
                  </a:tcPr>
                </a:tc>
                <a:tc>
                  <a:txBody>
                    <a:bodyPr/>
                    <a:lstStyle/>
                    <a:p>
                      <a:pPr algn="r"/>
                      <a:r>
                        <a:rPr lang="en-US" dirty="0"/>
                        <a:t>8</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975309747"/>
                  </a:ext>
                </a:extLst>
              </a:tr>
              <a:tr h="641257">
                <a:tc>
                  <a:txBody>
                    <a:bodyPr/>
                    <a:lstStyle/>
                    <a:p>
                      <a:r>
                        <a:rPr lang="en-US" dirty="0"/>
                        <a:t>Thank You</a:t>
                      </a:r>
                    </a:p>
                  </a:txBody>
                  <a:tcPr>
                    <a:lnL>
                      <a:noFill/>
                    </a:lnL>
                    <a:lnR>
                      <a:noFill/>
                    </a:lnR>
                    <a:lnT>
                      <a:noFill/>
                    </a:lnT>
                    <a:lnB>
                      <a:noFill/>
                    </a:lnB>
                    <a:lnTlToBr w="12700" cmpd="sng">
                      <a:noFill/>
                      <a:prstDash val="solid"/>
                    </a:lnTlToBr>
                    <a:lnBlToTr w="12700" cmpd="sng">
                      <a:noFill/>
                      <a:prstDash val="solid"/>
                    </a:lnBlToTr>
                  </a:tcPr>
                </a:tc>
                <a:tc>
                  <a:txBody>
                    <a:bodyPr/>
                    <a:lstStyle/>
                    <a:p>
                      <a:pPr algn="r"/>
                      <a:r>
                        <a:rPr lang="en-US" dirty="0"/>
                        <a:t>9</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9517065"/>
                  </a:ext>
                </a:extLst>
              </a:tr>
            </a:tbl>
          </a:graphicData>
        </a:graphic>
      </p:graphicFrame>
    </p:spTree>
    <p:extLst>
      <p:ext uri="{BB962C8B-B14F-4D97-AF65-F5344CB8AC3E}">
        <p14:creationId xmlns:p14="http://schemas.microsoft.com/office/powerpoint/2010/main" val="417541616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62DCEF-3D8C-4E29-8B65-84F7EBF133D8}"/>
              </a:ext>
            </a:extLst>
          </p:cNvPr>
          <p:cNvSpPr>
            <a:spLocks noGrp="1"/>
          </p:cNvSpPr>
          <p:nvPr>
            <p:ph type="title"/>
          </p:nvPr>
        </p:nvSpPr>
        <p:spPr/>
        <p:txBody>
          <a:bodyPr/>
          <a:lstStyle/>
          <a:p>
            <a:r>
              <a:rPr lang="en-US" dirty="0"/>
              <a:t>Business Understanding</a:t>
            </a:r>
          </a:p>
        </p:txBody>
      </p:sp>
      <p:grpSp>
        <p:nvGrpSpPr>
          <p:cNvPr id="4" name="Group 3">
            <a:extLst>
              <a:ext uri="{FF2B5EF4-FFF2-40B4-BE49-F238E27FC236}">
                <a16:creationId xmlns:a16="http://schemas.microsoft.com/office/drawing/2014/main" id="{A3FFE1B2-02A7-4CD7-8F86-48AB8C8B044A}"/>
              </a:ext>
            </a:extLst>
          </p:cNvPr>
          <p:cNvGrpSpPr/>
          <p:nvPr/>
        </p:nvGrpSpPr>
        <p:grpSpPr>
          <a:xfrm>
            <a:off x="501650" y="1207800"/>
            <a:ext cx="10468563" cy="4442400"/>
            <a:chOff x="579000" y="1764000"/>
            <a:chExt cx="8748600" cy="3712523"/>
          </a:xfrm>
        </p:grpSpPr>
        <p:grpSp>
          <p:nvGrpSpPr>
            <p:cNvPr id="15" name="グループ化 34">
              <a:extLst>
                <a:ext uri="{FF2B5EF4-FFF2-40B4-BE49-F238E27FC236}">
                  <a16:creationId xmlns:a16="http://schemas.microsoft.com/office/drawing/2014/main" id="{566B2781-9813-4097-81CB-AF4E9E0FB761}"/>
                </a:ext>
              </a:extLst>
            </p:cNvPr>
            <p:cNvGrpSpPr/>
            <p:nvPr/>
          </p:nvGrpSpPr>
          <p:grpSpPr>
            <a:xfrm>
              <a:off x="579600" y="1764000"/>
              <a:ext cx="8748000" cy="1008000"/>
              <a:chOff x="579600" y="1764000"/>
              <a:chExt cx="8748000" cy="1008000"/>
            </a:xfrm>
          </p:grpSpPr>
          <p:sp>
            <p:nvSpPr>
              <p:cNvPr id="17" name="フリーフォーム 17">
                <a:extLst>
                  <a:ext uri="{FF2B5EF4-FFF2-40B4-BE49-F238E27FC236}">
                    <a16:creationId xmlns:a16="http://schemas.microsoft.com/office/drawing/2014/main" id="{E8687110-9F68-4F94-9FCA-5E4B7C5AC2E6}"/>
                  </a:ext>
                </a:extLst>
              </p:cNvPr>
              <p:cNvSpPr/>
              <p:nvPr/>
            </p:nvSpPr>
            <p:spPr bwMode="gray">
              <a:xfrm>
                <a:off x="579600" y="1764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1"/>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800" b="1" i="0" u="none" strike="noStrike" kern="1200" cap="none" spc="0" normalizeH="0" baseline="0" noProof="0" dirty="0">
                    <a:ln>
                      <a:noFill/>
                    </a:ln>
                    <a:solidFill>
                      <a:prstClr val="white"/>
                    </a:solidFill>
                    <a:effectLst/>
                    <a:uLnTx/>
                    <a:uFillTx/>
                    <a:latin typeface="Calibri"/>
                    <a:ea typeface="+mn-ea"/>
                    <a:cs typeface="+mn-cs"/>
                  </a:rPr>
                  <a:t>  1</a:t>
                </a:r>
                <a:r>
                  <a:rPr kumimoji="1" lang="en-US" altLang="ja-JP" sz="1800" b="1" i="0" u="none" strike="noStrike" kern="1200" cap="none" spc="0" normalizeH="0" baseline="0" noProof="0" dirty="0">
                    <a:ln>
                      <a:noFill/>
                    </a:ln>
                    <a:solidFill>
                      <a:srgbClr val="FFFFFF"/>
                    </a:solidFill>
                    <a:effectLst/>
                    <a:uLnTx/>
                    <a:uFillTx/>
                    <a:latin typeface="Calibri"/>
                    <a:ea typeface="+mn-ea"/>
                    <a:cs typeface="+mn-cs"/>
                  </a:rPr>
                  <a:t> New Opportunities</a:t>
                </a:r>
                <a:endParaRPr kumimoji="1" lang="ja-JP" altLang="en-US" sz="1800" b="1" i="0" u="none" strike="noStrike" kern="1200" cap="none" spc="0" normalizeH="0" baseline="0" noProof="0" dirty="0">
                  <a:ln>
                    <a:noFill/>
                  </a:ln>
                  <a:solidFill>
                    <a:prstClr val="white"/>
                  </a:solidFill>
                  <a:effectLst/>
                  <a:uLnTx/>
                  <a:uFillTx/>
                  <a:latin typeface="Calibri"/>
                  <a:ea typeface="+mn-ea"/>
                  <a:cs typeface="+mn-cs"/>
                </a:endParaRPr>
              </a:p>
            </p:txBody>
          </p:sp>
          <p:grpSp>
            <p:nvGrpSpPr>
              <p:cNvPr id="28" name="Group 897">
                <a:extLst>
                  <a:ext uri="{FF2B5EF4-FFF2-40B4-BE49-F238E27FC236}">
                    <a16:creationId xmlns:a16="http://schemas.microsoft.com/office/drawing/2014/main" id="{F9C01E21-7BA7-46AF-9C59-4F4E9B9EE8FC}"/>
                  </a:ext>
                </a:extLst>
              </p:cNvPr>
              <p:cNvGrpSpPr>
                <a:grpSpLocks noChangeAspect="1"/>
              </p:cNvGrpSpPr>
              <p:nvPr/>
            </p:nvGrpSpPr>
            <p:grpSpPr bwMode="gray">
              <a:xfrm>
                <a:off x="651600" y="1836000"/>
                <a:ext cx="864000" cy="864000"/>
                <a:chOff x="3891" y="3455"/>
                <a:chExt cx="340" cy="340"/>
              </a:xfrm>
              <a:solidFill>
                <a:schemeClr val="bg1"/>
              </a:solidFill>
            </p:grpSpPr>
            <p:sp>
              <p:nvSpPr>
                <p:cNvPr id="30" name="Freeform 898">
                  <a:extLst>
                    <a:ext uri="{FF2B5EF4-FFF2-40B4-BE49-F238E27FC236}">
                      <a16:creationId xmlns:a16="http://schemas.microsoft.com/office/drawing/2014/main" id="{CB41DF92-F94D-4BC7-8245-B5570A894C20}"/>
                    </a:ext>
                  </a:extLst>
                </p:cNvPr>
                <p:cNvSpPr>
                  <a:spLocks noEditPoints="1"/>
                </p:cNvSpPr>
                <p:nvPr/>
              </p:nvSpPr>
              <p:spPr bwMode="gray">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31" name="Oval 899">
                  <a:extLst>
                    <a:ext uri="{FF2B5EF4-FFF2-40B4-BE49-F238E27FC236}">
                      <a16:creationId xmlns:a16="http://schemas.microsoft.com/office/drawing/2014/main" id="{261E6A4F-A9F1-4904-8054-DF7355C0B198}"/>
                    </a:ext>
                  </a:extLst>
                </p:cNvPr>
                <p:cNvSpPr>
                  <a:spLocks noChangeArrowheads="1"/>
                </p:cNvSpPr>
                <p:nvPr/>
              </p:nvSpPr>
              <p:spPr bwMode="gray">
                <a:xfrm>
                  <a:off x="3969" y="3533"/>
                  <a:ext cx="113" cy="11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29" name="正方形/長方形 23">
                <a:extLst>
                  <a:ext uri="{FF2B5EF4-FFF2-40B4-BE49-F238E27FC236}">
                    <a16:creationId xmlns:a16="http://schemas.microsoft.com/office/drawing/2014/main" id="{07F5D8AC-4449-4BB8-BFF0-9C9F859C1170}"/>
                  </a:ext>
                </a:extLst>
              </p:cNvPr>
              <p:cNvSpPr/>
              <p:nvPr/>
            </p:nvSpPr>
            <p:spPr bwMode="gray">
              <a:xfrm>
                <a:off x="1767600" y="2196000"/>
                <a:ext cx="7560000" cy="57600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a:ln>
                      <a:noFill/>
                    </a:ln>
                    <a:solidFill>
                      <a:prstClr val="black"/>
                    </a:solidFill>
                    <a:effectLst/>
                    <a:uLnTx/>
                    <a:uFillTx/>
                    <a:latin typeface="Calibri"/>
                    <a:ea typeface="+mn-ea"/>
                    <a:cs typeface="+mn-cs"/>
                  </a:rPr>
                  <a:t>Computer Vision has identified a new opportunity to expand their busin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a:ln>
                      <a:noFill/>
                    </a:ln>
                    <a:solidFill>
                      <a:prstClr val="black"/>
                    </a:solidFill>
                    <a:effectLst/>
                    <a:uLnTx/>
                    <a:uFillTx/>
                    <a:latin typeface="Calibri"/>
                    <a:ea typeface="+mn-ea"/>
                    <a:cs typeface="+mn-cs"/>
                  </a:rPr>
                  <a:t>Computer Vision wants to explore original content crea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4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2" name="グループ化 28">
              <a:extLst>
                <a:ext uri="{FF2B5EF4-FFF2-40B4-BE49-F238E27FC236}">
                  <a16:creationId xmlns:a16="http://schemas.microsoft.com/office/drawing/2014/main" id="{2A03FCB1-F81A-48F2-AEDA-B20203F2EEC6}"/>
                </a:ext>
              </a:extLst>
            </p:cNvPr>
            <p:cNvGrpSpPr/>
            <p:nvPr/>
          </p:nvGrpSpPr>
          <p:grpSpPr>
            <a:xfrm>
              <a:off x="579000" y="3116261"/>
              <a:ext cx="8748000" cy="1008000"/>
              <a:chOff x="579600" y="2916000"/>
              <a:chExt cx="8748000" cy="1008000"/>
            </a:xfrm>
          </p:grpSpPr>
          <p:sp>
            <p:nvSpPr>
              <p:cNvPr id="33" name="フリーフォーム 15">
                <a:extLst>
                  <a:ext uri="{FF2B5EF4-FFF2-40B4-BE49-F238E27FC236}">
                    <a16:creationId xmlns:a16="http://schemas.microsoft.com/office/drawing/2014/main" id="{0A7EE1CD-19E7-449D-BFAB-05DDF9EE5831}"/>
                  </a:ext>
                </a:extLst>
              </p:cNvPr>
              <p:cNvSpPr/>
              <p:nvPr/>
            </p:nvSpPr>
            <p:spPr bwMode="gray">
              <a:xfrm>
                <a:off x="579600" y="2916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2"/>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800" b="1" i="0" u="none" strike="noStrike" kern="1200" cap="none" spc="0" normalizeH="0" baseline="0" noProof="0" dirty="0">
                    <a:ln>
                      <a:noFill/>
                    </a:ln>
                    <a:solidFill>
                      <a:srgbClr val="FFFFFF"/>
                    </a:solidFill>
                    <a:effectLst/>
                    <a:uLnTx/>
                    <a:uFillTx/>
                    <a:latin typeface="Calibri"/>
                    <a:ea typeface="+mn-ea"/>
                    <a:cs typeface="+mn-cs"/>
                  </a:rPr>
                  <a:t>   2 Initial Investment</a:t>
                </a:r>
                <a:endParaRPr kumimoji="1" lang="ja-JP" altLang="en-US"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242">
                <a:extLst>
                  <a:ext uri="{FF2B5EF4-FFF2-40B4-BE49-F238E27FC236}">
                    <a16:creationId xmlns:a16="http://schemas.microsoft.com/office/drawing/2014/main" id="{1642AC1E-9B7D-4971-89BF-313E019C1AAF}"/>
                  </a:ext>
                </a:extLst>
              </p:cNvPr>
              <p:cNvSpPr>
                <a:spLocks noChangeAspect="1" noEditPoints="1"/>
              </p:cNvSpPr>
              <p:nvPr/>
            </p:nvSpPr>
            <p:spPr bwMode="gray">
              <a:xfrm>
                <a:off x="651600" y="2988000"/>
                <a:ext cx="864000" cy="864000"/>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6" name="グループ化 27">
              <a:extLst>
                <a:ext uri="{FF2B5EF4-FFF2-40B4-BE49-F238E27FC236}">
                  <a16:creationId xmlns:a16="http://schemas.microsoft.com/office/drawing/2014/main" id="{E6F8C9A5-7120-4ACF-ADD8-C37B9434210B}"/>
                </a:ext>
              </a:extLst>
            </p:cNvPr>
            <p:cNvGrpSpPr/>
            <p:nvPr/>
          </p:nvGrpSpPr>
          <p:grpSpPr>
            <a:xfrm>
              <a:off x="579000" y="4468523"/>
              <a:ext cx="8748000" cy="1008000"/>
              <a:chOff x="579600" y="4068000"/>
              <a:chExt cx="8748000" cy="1008000"/>
            </a:xfrm>
          </p:grpSpPr>
          <p:sp>
            <p:nvSpPr>
              <p:cNvPr id="37" name="フリーフォーム 16">
                <a:extLst>
                  <a:ext uri="{FF2B5EF4-FFF2-40B4-BE49-F238E27FC236}">
                    <a16:creationId xmlns:a16="http://schemas.microsoft.com/office/drawing/2014/main" id="{87774C8B-E0A8-48D8-9793-AA762ACDF4CB}"/>
                  </a:ext>
                </a:extLst>
              </p:cNvPr>
              <p:cNvSpPr/>
              <p:nvPr/>
            </p:nvSpPr>
            <p:spPr bwMode="gray">
              <a:xfrm>
                <a:off x="579600" y="4068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3"/>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800" b="1" i="0" u="none" strike="noStrike" kern="1200" cap="none" spc="0" normalizeH="0" baseline="0" noProof="0" dirty="0">
                    <a:ln>
                      <a:noFill/>
                    </a:ln>
                    <a:solidFill>
                      <a:srgbClr val="FFFFFF"/>
                    </a:solidFill>
                    <a:effectLst/>
                    <a:uLnTx/>
                    <a:uFillTx/>
                    <a:latin typeface="Calibri"/>
                    <a:ea typeface="+mn-ea"/>
                    <a:cs typeface="+mn-cs"/>
                  </a:rPr>
                  <a:t>  3 The Goal</a:t>
                </a:r>
                <a:endParaRPr kumimoji="1" lang="ja-JP" altLang="en-US"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59">
                <a:extLst>
                  <a:ext uri="{FF2B5EF4-FFF2-40B4-BE49-F238E27FC236}">
                    <a16:creationId xmlns:a16="http://schemas.microsoft.com/office/drawing/2014/main" id="{F61D657E-D306-4757-9518-9F45CEFB31A2}"/>
                  </a:ext>
                </a:extLst>
              </p:cNvPr>
              <p:cNvSpPr>
                <a:spLocks noChangeAspect="1" noEditPoints="1"/>
              </p:cNvSpPr>
              <p:nvPr/>
            </p:nvSpPr>
            <p:spPr bwMode="gray">
              <a:xfrm>
                <a:off x="651600" y="4140000"/>
                <a:ext cx="864000" cy="86400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40" name="正方形/長方形 23">
            <a:extLst>
              <a:ext uri="{FF2B5EF4-FFF2-40B4-BE49-F238E27FC236}">
                <a16:creationId xmlns:a16="http://schemas.microsoft.com/office/drawing/2014/main" id="{F7881073-00C2-4475-8CCC-484C80765EE6}"/>
              </a:ext>
            </a:extLst>
          </p:cNvPr>
          <p:cNvSpPr/>
          <p:nvPr/>
        </p:nvSpPr>
        <p:spPr bwMode="gray">
          <a:xfrm>
            <a:off x="1923209" y="3342844"/>
            <a:ext cx="9046286" cy="68924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a:ln>
                  <a:noFill/>
                </a:ln>
                <a:solidFill>
                  <a:prstClr val="black"/>
                </a:solidFill>
                <a:effectLst/>
                <a:uLnTx/>
                <a:uFillTx/>
                <a:latin typeface="Calibri"/>
                <a:ea typeface="+mn-ea"/>
                <a:cs typeface="+mn-cs"/>
              </a:rPr>
              <a:t>Investing in a new movie studio and initial set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a:ln>
                  <a:noFill/>
                </a:ln>
                <a:solidFill>
                  <a:prstClr val="black"/>
                </a:solidFill>
                <a:effectLst/>
                <a:uLnTx/>
                <a:uFillTx/>
                <a:latin typeface="Calibri"/>
                <a:ea typeface="+mn-ea"/>
                <a:cs typeface="+mn-cs"/>
              </a:rPr>
              <a:t>However, Computer Vision lacks experience in original content creation and does not know what type of content to create</a:t>
            </a:r>
          </a:p>
        </p:txBody>
      </p:sp>
      <p:sp>
        <p:nvSpPr>
          <p:cNvPr id="41" name="正方形/長方形 23">
            <a:extLst>
              <a:ext uri="{FF2B5EF4-FFF2-40B4-BE49-F238E27FC236}">
                <a16:creationId xmlns:a16="http://schemas.microsoft.com/office/drawing/2014/main" id="{E406B972-B89E-4571-91BA-7E0ED2EB5D48}"/>
              </a:ext>
            </a:extLst>
          </p:cNvPr>
          <p:cNvSpPr/>
          <p:nvPr/>
        </p:nvSpPr>
        <p:spPr bwMode="gray">
          <a:xfrm>
            <a:off x="1923209" y="5068398"/>
            <a:ext cx="9046286" cy="68924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a:ln>
                  <a:noFill/>
                </a:ln>
                <a:solidFill>
                  <a:prstClr val="black"/>
                </a:solidFill>
                <a:effectLst/>
                <a:uLnTx/>
                <a:uFillTx/>
                <a:latin typeface="Calibri"/>
                <a:ea typeface="+mn-ea"/>
                <a:cs typeface="+mn-cs"/>
              </a:rPr>
              <a:t>Perform data analysis to identify most popular movie content and their profitabilit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a:ln>
                  <a:noFill/>
                </a:ln>
                <a:solidFill>
                  <a:prstClr val="black"/>
                </a:solidFill>
                <a:effectLst/>
                <a:uLnTx/>
                <a:uFillTx/>
                <a:latin typeface="Calibri"/>
                <a:ea typeface="+mn-ea"/>
                <a:cs typeface="+mn-cs"/>
              </a:rPr>
              <a:t>Identify what content genres are most popular and have the highest profitability ra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a:ln>
                  <a:noFill/>
                </a:ln>
                <a:solidFill>
                  <a:prstClr val="black"/>
                </a:solidFill>
                <a:effectLst/>
                <a:uLnTx/>
                <a:uFillTx/>
                <a:latin typeface="Calibri"/>
                <a:ea typeface="+mn-ea"/>
                <a:cs typeface="+mn-cs"/>
              </a:rPr>
              <a:t>Highlight 3 solutions based on the data analys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Oval 5">
            <a:extLst>
              <a:ext uri="{FF2B5EF4-FFF2-40B4-BE49-F238E27FC236}">
                <a16:creationId xmlns:a16="http://schemas.microsoft.com/office/drawing/2014/main" id="{914B90A7-B058-4871-B035-1795BD52B12C}"/>
              </a:ext>
            </a:extLst>
          </p:cNvPr>
          <p:cNvSpPr/>
          <p:nvPr/>
        </p:nvSpPr>
        <p:spPr bwMode="gray">
          <a:xfrm>
            <a:off x="680988" y="3070532"/>
            <a:ext cx="846729" cy="787790"/>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5" name="Graphic 4" descr="Coins with solid fill">
            <a:extLst>
              <a:ext uri="{FF2B5EF4-FFF2-40B4-BE49-F238E27FC236}">
                <a16:creationId xmlns:a16="http://schemas.microsoft.com/office/drawing/2014/main" id="{CBD73A9F-89D5-41B5-BBD0-B1D24917872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9552" y="3026995"/>
            <a:ext cx="787789" cy="787789"/>
          </a:xfrm>
          <a:prstGeom prst="rect">
            <a:avLst/>
          </a:prstGeom>
        </p:spPr>
      </p:pic>
      <p:sp>
        <p:nvSpPr>
          <p:cNvPr id="9" name="Oval 8">
            <a:extLst>
              <a:ext uri="{FF2B5EF4-FFF2-40B4-BE49-F238E27FC236}">
                <a16:creationId xmlns:a16="http://schemas.microsoft.com/office/drawing/2014/main" id="{E332E7C5-5F8C-46A8-A9E0-C0D0DC06A6FB}"/>
              </a:ext>
            </a:extLst>
          </p:cNvPr>
          <p:cNvSpPr/>
          <p:nvPr/>
        </p:nvSpPr>
        <p:spPr bwMode="gray">
          <a:xfrm>
            <a:off x="709552" y="4694662"/>
            <a:ext cx="787789" cy="718357"/>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8" name="Graphic 7" descr="Bullseye with solid fill">
            <a:extLst>
              <a:ext uri="{FF2B5EF4-FFF2-40B4-BE49-F238E27FC236}">
                <a16:creationId xmlns:a16="http://schemas.microsoft.com/office/drawing/2014/main" id="{48A5C597-8F7D-4FCF-8362-C411C76705D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46246" y="4588286"/>
            <a:ext cx="914400" cy="914400"/>
          </a:xfrm>
          <a:prstGeom prst="rect">
            <a:avLst/>
          </a:prstGeom>
        </p:spPr>
      </p:pic>
      <p:sp>
        <p:nvSpPr>
          <p:cNvPr id="10" name="Rectangle 9">
            <a:extLst>
              <a:ext uri="{FF2B5EF4-FFF2-40B4-BE49-F238E27FC236}">
                <a16:creationId xmlns:a16="http://schemas.microsoft.com/office/drawing/2014/main" id="{8E7A434B-E993-4288-8D2F-CBF7769B4912}"/>
              </a:ext>
            </a:extLst>
          </p:cNvPr>
          <p:cNvSpPr/>
          <p:nvPr/>
        </p:nvSpPr>
        <p:spPr bwMode="gray">
          <a:xfrm>
            <a:off x="501650" y="6367346"/>
            <a:ext cx="3390126" cy="37914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 name="Rectangle 24">
            <a:extLst>
              <a:ext uri="{FF2B5EF4-FFF2-40B4-BE49-F238E27FC236}">
                <a16:creationId xmlns:a16="http://schemas.microsoft.com/office/drawing/2014/main" id="{3913FA15-E8F2-4B83-AB05-CE67FF493EF4}"/>
              </a:ext>
            </a:extLst>
          </p:cNvPr>
          <p:cNvSpPr/>
          <p:nvPr/>
        </p:nvSpPr>
        <p:spPr bwMode="gray">
          <a:xfrm>
            <a:off x="7969251" y="6467707"/>
            <a:ext cx="3390126" cy="37914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75895670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Isosceles Triangle 39">
            <a:extLst>
              <a:ext uri="{FF2B5EF4-FFF2-40B4-BE49-F238E27FC236}">
                <a16:creationId xmlns:a16="http://schemas.microsoft.com/office/drawing/2014/main" id="{F67443CF-815D-9D4C-9270-588E3353F638}"/>
              </a:ext>
            </a:extLst>
          </p:cNvPr>
          <p:cNvSpPr/>
          <p:nvPr/>
        </p:nvSpPr>
        <p:spPr bwMode="gray">
          <a:xfrm rot="10800000" flipV="1">
            <a:off x="466265" y="5778381"/>
            <a:ext cx="11268534" cy="261534"/>
          </a:xfrm>
          <a:prstGeom prst="triangle">
            <a:avLst/>
          </a:prstGeom>
          <a:solidFill>
            <a:srgbClr val="97999B"/>
          </a:solidFill>
          <a:ln w="19050" algn="ctr">
            <a:noFill/>
            <a:miter lim="800000"/>
            <a:headEnd/>
            <a:tailEnd/>
          </a:ln>
        </p:spPr>
        <p:txBody>
          <a:bodyPr wrap="square" lIns="88830" tIns="88830" rIns="88830" bIns="88830"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prstClr val="white"/>
              </a:solidFill>
              <a:effectLst/>
              <a:uLnTx/>
              <a:uFillTx/>
              <a:latin typeface="Calibri"/>
              <a:ea typeface="+mn-ea"/>
              <a:cs typeface="+mn-cs"/>
            </a:endParaRPr>
          </a:p>
        </p:txBody>
      </p:sp>
      <p:sp>
        <p:nvSpPr>
          <p:cNvPr id="29" name="Rectangle 28">
            <a:extLst>
              <a:ext uri="{FF2B5EF4-FFF2-40B4-BE49-F238E27FC236}">
                <a16:creationId xmlns:a16="http://schemas.microsoft.com/office/drawing/2014/main" id="{CC7E6AE7-3146-7540-8986-375B71476050}"/>
              </a:ext>
            </a:extLst>
          </p:cNvPr>
          <p:cNvSpPr>
            <a:spLocks/>
          </p:cNvSpPr>
          <p:nvPr/>
        </p:nvSpPr>
        <p:spPr bwMode="auto">
          <a:xfrm>
            <a:off x="443622" y="1714500"/>
            <a:ext cx="3556001" cy="2891356"/>
          </a:xfrm>
          <a:prstGeom prst="rect">
            <a:avLst/>
          </a:prstGeom>
          <a:solidFill>
            <a:schemeClr val="accent1"/>
          </a:solidFill>
          <a:ln w="0">
            <a:noFill/>
            <a:prstDash val="solid"/>
            <a:round/>
            <a:headEnd/>
            <a:tailEnd/>
          </a:ln>
        </p:spPr>
        <p:txBody>
          <a:bodyPr vert="horz" wrap="square" lIns="91370" tIns="72000" rIns="91370" bIns="45685" numCol="1" anchor="t"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prstClr val="white"/>
                </a:solidFill>
                <a:effectLst/>
                <a:uLnTx/>
                <a:uFillTx/>
                <a:latin typeface="Calibri"/>
                <a:ea typeface="+mn-ea"/>
                <a:cs typeface="+mn-cs"/>
              </a:rPr>
              <a:t>Solution 1</a:t>
            </a:r>
            <a:endParaRPr kumimoji="0" lang="en-US" sz="1300" b="1"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29">
            <a:extLst>
              <a:ext uri="{FF2B5EF4-FFF2-40B4-BE49-F238E27FC236}">
                <a16:creationId xmlns:a16="http://schemas.microsoft.com/office/drawing/2014/main" id="{6413C305-7BD7-CD4A-89E0-76EE3E396902}"/>
              </a:ext>
            </a:extLst>
          </p:cNvPr>
          <p:cNvSpPr>
            <a:spLocks/>
          </p:cNvSpPr>
          <p:nvPr/>
        </p:nvSpPr>
        <p:spPr bwMode="auto">
          <a:xfrm>
            <a:off x="443436" y="1714506"/>
            <a:ext cx="3556372" cy="2789887"/>
          </a:xfrm>
          <a:custGeom>
            <a:avLst/>
            <a:gdLst>
              <a:gd name="T0" fmla="*/ 553 w 556"/>
              <a:gd name="T1" fmla="*/ 2038 h 2146"/>
              <a:gd name="T2" fmla="*/ 553 w 556"/>
              <a:gd name="T3" fmla="*/ 2038 h 2146"/>
              <a:gd name="T4" fmla="*/ 483 w 556"/>
              <a:gd name="T5" fmla="*/ 2146 h 2146"/>
              <a:gd name="T6" fmla="*/ 70 w 556"/>
              <a:gd name="T7" fmla="*/ 2144 h 2146"/>
              <a:gd name="T8" fmla="*/ 8 w 556"/>
              <a:gd name="T9" fmla="*/ 2038 h 2146"/>
              <a:gd name="T10" fmla="*/ 8 w 556"/>
              <a:gd name="T11" fmla="*/ 103 h 2146"/>
              <a:gd name="T12" fmla="*/ 59 w 556"/>
              <a:gd name="T13" fmla="*/ 0 h 2146"/>
              <a:gd name="T14" fmla="*/ 496 w 556"/>
              <a:gd name="T15" fmla="*/ 0 h 2146"/>
              <a:gd name="T16" fmla="*/ 553 w 556"/>
              <a:gd name="T17" fmla="*/ 103 h 2146"/>
              <a:gd name="T18" fmla="*/ 553 w 556"/>
              <a:gd name="T19" fmla="*/ 2038 h 2146"/>
              <a:gd name="T20" fmla="*/ 553 w 556"/>
              <a:gd name="T21" fmla="*/ 2038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6" h="2146">
                <a:moveTo>
                  <a:pt x="553" y="2038"/>
                </a:moveTo>
                <a:lnTo>
                  <a:pt x="553" y="2038"/>
                </a:lnTo>
                <a:cubicBezTo>
                  <a:pt x="553" y="2096"/>
                  <a:pt x="543" y="2146"/>
                  <a:pt x="483" y="2146"/>
                </a:cubicBezTo>
                <a:lnTo>
                  <a:pt x="70" y="2144"/>
                </a:lnTo>
                <a:cubicBezTo>
                  <a:pt x="10" y="2144"/>
                  <a:pt x="8" y="2096"/>
                  <a:pt x="8" y="2038"/>
                </a:cubicBezTo>
                <a:lnTo>
                  <a:pt x="8" y="103"/>
                </a:lnTo>
                <a:cubicBezTo>
                  <a:pt x="8" y="45"/>
                  <a:pt x="0" y="0"/>
                  <a:pt x="59" y="0"/>
                </a:cubicBezTo>
                <a:lnTo>
                  <a:pt x="496" y="0"/>
                </a:lnTo>
                <a:cubicBezTo>
                  <a:pt x="556" y="0"/>
                  <a:pt x="553" y="45"/>
                  <a:pt x="553" y="103"/>
                </a:cubicBezTo>
                <a:lnTo>
                  <a:pt x="553" y="2038"/>
                </a:lnTo>
                <a:lnTo>
                  <a:pt x="553" y="2038"/>
                </a:lnTo>
                <a:close/>
              </a:path>
            </a:pathLst>
          </a:custGeom>
          <a:noFill/>
          <a:ln w="11"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Freeform 30">
            <a:extLst>
              <a:ext uri="{FF2B5EF4-FFF2-40B4-BE49-F238E27FC236}">
                <a16:creationId xmlns:a16="http://schemas.microsoft.com/office/drawing/2014/main" id="{855D3F6B-2752-E841-BF88-2EB6ED6D7A78}"/>
              </a:ext>
            </a:extLst>
          </p:cNvPr>
          <p:cNvSpPr>
            <a:spLocks/>
          </p:cNvSpPr>
          <p:nvPr/>
        </p:nvSpPr>
        <p:spPr bwMode="auto">
          <a:xfrm>
            <a:off x="588795" y="2090290"/>
            <a:ext cx="3265656" cy="1676792"/>
          </a:xfrm>
          <a:custGeom>
            <a:avLst/>
            <a:gdLst>
              <a:gd name="T0" fmla="*/ 435 w 435"/>
              <a:gd name="T1" fmla="*/ 1072 h 1072"/>
              <a:gd name="T2" fmla="*/ 435 w 435"/>
              <a:gd name="T3" fmla="*/ 1072 h 1072"/>
              <a:gd name="T4" fmla="*/ 0 w 435"/>
              <a:gd name="T5" fmla="*/ 1072 h 1072"/>
              <a:gd name="T6" fmla="*/ 0 w 435"/>
              <a:gd name="T7" fmla="*/ 0 h 1072"/>
              <a:gd name="T8" fmla="*/ 435 w 435"/>
              <a:gd name="T9" fmla="*/ 0 h 1072"/>
              <a:gd name="T10" fmla="*/ 435 w 435"/>
              <a:gd name="T11" fmla="*/ 1072 h 1072"/>
            </a:gdLst>
            <a:ahLst/>
            <a:cxnLst>
              <a:cxn ang="0">
                <a:pos x="T0" y="T1"/>
              </a:cxn>
              <a:cxn ang="0">
                <a:pos x="T2" y="T3"/>
              </a:cxn>
              <a:cxn ang="0">
                <a:pos x="T4" y="T5"/>
              </a:cxn>
              <a:cxn ang="0">
                <a:pos x="T6" y="T7"/>
              </a:cxn>
              <a:cxn ang="0">
                <a:pos x="T8" y="T9"/>
              </a:cxn>
              <a:cxn ang="0">
                <a:pos x="T10" y="T11"/>
              </a:cxn>
            </a:cxnLst>
            <a:rect l="0" t="0" r="r" b="b"/>
            <a:pathLst>
              <a:path w="435" h="1072">
                <a:moveTo>
                  <a:pt x="435" y="1072"/>
                </a:moveTo>
                <a:lnTo>
                  <a:pt x="435" y="1072"/>
                </a:lnTo>
                <a:lnTo>
                  <a:pt x="0" y="1072"/>
                </a:lnTo>
                <a:lnTo>
                  <a:pt x="0" y="0"/>
                </a:lnTo>
                <a:lnTo>
                  <a:pt x="435" y="0"/>
                </a:lnTo>
                <a:lnTo>
                  <a:pt x="435" y="1072"/>
                </a:lnTo>
                <a:close/>
              </a:path>
            </a:pathLst>
          </a:custGeom>
          <a:solidFill>
            <a:srgbClr val="FEFEFE"/>
          </a:solidFill>
          <a:ln w="0">
            <a:noFill/>
            <a:prstDash val="solid"/>
            <a:round/>
            <a:headEnd/>
            <a:tailEnd/>
          </a:ln>
        </p:spPr>
        <p:txBody>
          <a:bodyPr vert="horz" wrap="square" lIns="91370" tIns="45685" rIns="91370" bIns="45685" numCol="1" anchor="t" anchorCtr="0" compatLnSpc="1">
            <a:prstTxWarp prst="textNoShape">
              <a:avLst/>
            </a:prstTxWarp>
          </a:bodyPr>
          <a:lstStyle/>
          <a:p>
            <a:pPr marL="123727" marR="0" lvl="1" indent="-123727" algn="l" defTabSz="913686" rtl="0" eaLnBrk="1" fontAlgn="auto" latinLnBrk="0" hangingPunct="1">
              <a:lnSpc>
                <a:spcPct val="100000"/>
              </a:lnSpc>
              <a:spcBef>
                <a:spcPts val="0"/>
              </a:spcBef>
              <a:spcAft>
                <a:spcPts val="0"/>
              </a:spcAft>
              <a:buClrTx/>
              <a:buSzPct val="100000"/>
              <a:buFont typeface="Arial"/>
              <a:buChar char="•"/>
              <a:tabLst/>
              <a:defRPr/>
            </a:pPr>
            <a:r>
              <a:rPr kumimoji="0" lang="en-US" sz="1300" b="0" i="0" u="none" strike="noStrike" kern="1200" cap="none" spc="0" normalizeH="0" baseline="0" noProof="0" dirty="0">
                <a:ln>
                  <a:noFill/>
                </a:ln>
                <a:solidFill>
                  <a:srgbClr val="313131"/>
                </a:solidFill>
                <a:effectLst/>
                <a:uLnTx/>
                <a:uFillTx/>
                <a:latin typeface="Calibri"/>
                <a:ea typeface="+mn-ea"/>
                <a:cs typeface="+mn-cs"/>
              </a:rPr>
              <a:t>This is dummy text it is not here to be read. The is just text to show where you could insert text. The is just text to show where you could insert text. Please replace with your text content here.</a:t>
            </a:r>
          </a:p>
        </p:txBody>
      </p:sp>
      <p:sp>
        <p:nvSpPr>
          <p:cNvPr id="33" name="Rectangle 32">
            <a:extLst>
              <a:ext uri="{FF2B5EF4-FFF2-40B4-BE49-F238E27FC236}">
                <a16:creationId xmlns:a16="http://schemas.microsoft.com/office/drawing/2014/main" id="{A6A11878-0748-7141-B1AF-470FB1BB0793}"/>
              </a:ext>
            </a:extLst>
          </p:cNvPr>
          <p:cNvSpPr>
            <a:spLocks/>
          </p:cNvSpPr>
          <p:nvPr/>
        </p:nvSpPr>
        <p:spPr bwMode="auto">
          <a:xfrm>
            <a:off x="4324076" y="1714500"/>
            <a:ext cx="3545042" cy="2891356"/>
          </a:xfrm>
          <a:prstGeom prst="rect">
            <a:avLst/>
          </a:prstGeom>
          <a:solidFill>
            <a:srgbClr val="43B02A"/>
          </a:solidFill>
          <a:ln w="0">
            <a:noFill/>
            <a:prstDash val="solid"/>
            <a:round/>
            <a:headEnd/>
            <a:tailEnd/>
          </a:ln>
        </p:spPr>
        <p:txBody>
          <a:bodyPr vert="horz" wrap="square" lIns="91370" tIns="72000" rIns="91370" bIns="45685" numCol="1" anchor="t"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prstClr val="white"/>
                </a:solidFill>
                <a:effectLst/>
                <a:uLnTx/>
                <a:uFillTx/>
                <a:latin typeface="Calibri"/>
                <a:ea typeface="+mn-ea"/>
                <a:cs typeface="+mn-cs"/>
              </a:rPr>
              <a:t>Solution 2</a:t>
            </a:r>
            <a:endParaRPr kumimoji="0" lang="en-US" sz="1300" b="1"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reeform 33">
            <a:extLst>
              <a:ext uri="{FF2B5EF4-FFF2-40B4-BE49-F238E27FC236}">
                <a16:creationId xmlns:a16="http://schemas.microsoft.com/office/drawing/2014/main" id="{17289CF7-F829-A74B-9607-7E620E093618}"/>
              </a:ext>
            </a:extLst>
          </p:cNvPr>
          <p:cNvSpPr>
            <a:spLocks/>
          </p:cNvSpPr>
          <p:nvPr/>
        </p:nvSpPr>
        <p:spPr bwMode="auto">
          <a:xfrm>
            <a:off x="4311103" y="1714506"/>
            <a:ext cx="3570989" cy="2789887"/>
          </a:xfrm>
          <a:custGeom>
            <a:avLst/>
            <a:gdLst>
              <a:gd name="T0" fmla="*/ 554 w 558"/>
              <a:gd name="T1" fmla="*/ 2038 h 2146"/>
              <a:gd name="T2" fmla="*/ 554 w 558"/>
              <a:gd name="T3" fmla="*/ 2038 h 2146"/>
              <a:gd name="T4" fmla="*/ 484 w 558"/>
              <a:gd name="T5" fmla="*/ 2146 h 2146"/>
              <a:gd name="T6" fmla="*/ 72 w 558"/>
              <a:gd name="T7" fmla="*/ 2144 h 2146"/>
              <a:gd name="T8" fmla="*/ 10 w 558"/>
              <a:gd name="T9" fmla="*/ 2038 h 2146"/>
              <a:gd name="T10" fmla="*/ 10 w 558"/>
              <a:gd name="T11" fmla="*/ 103 h 2146"/>
              <a:gd name="T12" fmla="*/ 60 w 558"/>
              <a:gd name="T13" fmla="*/ 0 h 2146"/>
              <a:gd name="T14" fmla="*/ 497 w 558"/>
              <a:gd name="T15" fmla="*/ 0 h 2146"/>
              <a:gd name="T16" fmla="*/ 554 w 558"/>
              <a:gd name="T17" fmla="*/ 103 h 2146"/>
              <a:gd name="T18" fmla="*/ 554 w 558"/>
              <a:gd name="T19" fmla="*/ 2038 h 2146"/>
              <a:gd name="T20" fmla="*/ 554 w 558"/>
              <a:gd name="T21" fmla="*/ 2038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8" h="2146">
                <a:moveTo>
                  <a:pt x="554" y="2038"/>
                </a:moveTo>
                <a:lnTo>
                  <a:pt x="554" y="2038"/>
                </a:lnTo>
                <a:cubicBezTo>
                  <a:pt x="554" y="2096"/>
                  <a:pt x="544" y="2146"/>
                  <a:pt x="484" y="2146"/>
                </a:cubicBezTo>
                <a:lnTo>
                  <a:pt x="72" y="2144"/>
                </a:lnTo>
                <a:cubicBezTo>
                  <a:pt x="11" y="2144"/>
                  <a:pt x="10" y="2096"/>
                  <a:pt x="10" y="2038"/>
                </a:cubicBezTo>
                <a:lnTo>
                  <a:pt x="10" y="103"/>
                </a:lnTo>
                <a:cubicBezTo>
                  <a:pt x="10" y="45"/>
                  <a:pt x="0" y="0"/>
                  <a:pt x="60" y="0"/>
                </a:cubicBezTo>
                <a:lnTo>
                  <a:pt x="497" y="0"/>
                </a:lnTo>
                <a:cubicBezTo>
                  <a:pt x="558" y="0"/>
                  <a:pt x="554" y="45"/>
                  <a:pt x="554" y="103"/>
                </a:cubicBezTo>
                <a:lnTo>
                  <a:pt x="554" y="2038"/>
                </a:lnTo>
                <a:lnTo>
                  <a:pt x="554" y="2038"/>
                </a:lnTo>
                <a:close/>
              </a:path>
            </a:pathLst>
          </a:custGeom>
          <a:noFill/>
          <a:ln w="11"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Freeform 34">
            <a:extLst>
              <a:ext uri="{FF2B5EF4-FFF2-40B4-BE49-F238E27FC236}">
                <a16:creationId xmlns:a16="http://schemas.microsoft.com/office/drawing/2014/main" id="{F6A4BECE-ECA3-A44B-9AD4-17E2998A604D}"/>
              </a:ext>
            </a:extLst>
          </p:cNvPr>
          <p:cNvSpPr>
            <a:spLocks/>
          </p:cNvSpPr>
          <p:nvPr/>
        </p:nvSpPr>
        <p:spPr bwMode="auto">
          <a:xfrm>
            <a:off x="4463770" y="2090290"/>
            <a:ext cx="3265656" cy="1676792"/>
          </a:xfrm>
          <a:custGeom>
            <a:avLst/>
            <a:gdLst>
              <a:gd name="T0" fmla="*/ 435 w 435"/>
              <a:gd name="T1" fmla="*/ 1072 h 1072"/>
              <a:gd name="T2" fmla="*/ 435 w 435"/>
              <a:gd name="T3" fmla="*/ 1072 h 1072"/>
              <a:gd name="T4" fmla="*/ 0 w 435"/>
              <a:gd name="T5" fmla="*/ 1072 h 1072"/>
              <a:gd name="T6" fmla="*/ 0 w 435"/>
              <a:gd name="T7" fmla="*/ 0 h 1072"/>
              <a:gd name="T8" fmla="*/ 435 w 435"/>
              <a:gd name="T9" fmla="*/ 0 h 1072"/>
              <a:gd name="T10" fmla="*/ 435 w 435"/>
              <a:gd name="T11" fmla="*/ 1072 h 1072"/>
            </a:gdLst>
            <a:ahLst/>
            <a:cxnLst>
              <a:cxn ang="0">
                <a:pos x="T0" y="T1"/>
              </a:cxn>
              <a:cxn ang="0">
                <a:pos x="T2" y="T3"/>
              </a:cxn>
              <a:cxn ang="0">
                <a:pos x="T4" y="T5"/>
              </a:cxn>
              <a:cxn ang="0">
                <a:pos x="T6" y="T7"/>
              </a:cxn>
              <a:cxn ang="0">
                <a:pos x="T8" y="T9"/>
              </a:cxn>
              <a:cxn ang="0">
                <a:pos x="T10" y="T11"/>
              </a:cxn>
            </a:cxnLst>
            <a:rect l="0" t="0" r="r" b="b"/>
            <a:pathLst>
              <a:path w="435" h="1072">
                <a:moveTo>
                  <a:pt x="435" y="1072"/>
                </a:moveTo>
                <a:lnTo>
                  <a:pt x="435" y="1072"/>
                </a:lnTo>
                <a:lnTo>
                  <a:pt x="0" y="1072"/>
                </a:lnTo>
                <a:lnTo>
                  <a:pt x="0" y="0"/>
                </a:lnTo>
                <a:lnTo>
                  <a:pt x="435" y="0"/>
                </a:lnTo>
                <a:lnTo>
                  <a:pt x="435" y="1072"/>
                </a:lnTo>
                <a:close/>
              </a:path>
            </a:pathLst>
          </a:custGeom>
          <a:solidFill>
            <a:srgbClr val="FEFEFE"/>
          </a:solidFill>
          <a:ln w="0">
            <a:noFill/>
            <a:prstDash val="solid"/>
            <a:round/>
            <a:headEnd/>
            <a:tailEnd/>
          </a:ln>
        </p:spPr>
        <p:txBody>
          <a:bodyPr vert="horz" wrap="square" lIns="91370" tIns="45685" rIns="91370" bIns="45685" numCol="1" anchor="t" anchorCtr="0" compatLnSpc="1">
            <a:prstTxWarp prst="textNoShape">
              <a:avLst/>
            </a:prstTxWarp>
          </a:bodyPr>
          <a:lstStyle/>
          <a:p>
            <a:pPr marL="123727" marR="0" lvl="1" indent="-123727" algn="l" defTabSz="913686" rtl="0" eaLnBrk="1" fontAlgn="auto" latinLnBrk="0" hangingPunct="1">
              <a:lnSpc>
                <a:spcPct val="100000"/>
              </a:lnSpc>
              <a:spcBef>
                <a:spcPts val="0"/>
              </a:spcBef>
              <a:spcAft>
                <a:spcPts val="0"/>
              </a:spcAft>
              <a:buClrTx/>
              <a:buSzPct val="100000"/>
              <a:buFont typeface="Arial"/>
              <a:buChar char="•"/>
              <a:tabLst/>
              <a:defRPr/>
            </a:pPr>
            <a:r>
              <a:rPr kumimoji="0" lang="en-US" sz="1300" b="0" i="0" u="none" strike="noStrike" kern="1200" cap="none" spc="0" normalizeH="0" baseline="0" noProof="0" dirty="0">
                <a:ln>
                  <a:noFill/>
                </a:ln>
                <a:solidFill>
                  <a:srgbClr val="313131"/>
                </a:solidFill>
                <a:effectLst/>
                <a:uLnTx/>
                <a:uFillTx/>
                <a:latin typeface="Calibri"/>
                <a:ea typeface="+mn-ea"/>
                <a:cs typeface="+mn-cs"/>
              </a:rPr>
              <a:t>This is dummy text it is not here to be read. The is just text to show where you could insert text. The is just text to show where you could insert text. Please replace with your text content here.</a:t>
            </a:r>
          </a:p>
        </p:txBody>
      </p:sp>
      <p:sp>
        <p:nvSpPr>
          <p:cNvPr id="37" name="Rectangle 36">
            <a:extLst>
              <a:ext uri="{FF2B5EF4-FFF2-40B4-BE49-F238E27FC236}">
                <a16:creationId xmlns:a16="http://schemas.microsoft.com/office/drawing/2014/main" id="{41DB9743-4CCC-CD4D-B71A-E4B6A20501C4}"/>
              </a:ext>
            </a:extLst>
          </p:cNvPr>
          <p:cNvSpPr>
            <a:spLocks/>
          </p:cNvSpPr>
          <p:nvPr/>
        </p:nvSpPr>
        <p:spPr bwMode="auto">
          <a:xfrm>
            <a:off x="8168685" y="1714500"/>
            <a:ext cx="3566116" cy="2891356"/>
          </a:xfrm>
          <a:prstGeom prst="rect">
            <a:avLst/>
          </a:prstGeom>
          <a:solidFill>
            <a:schemeClr val="accent3"/>
          </a:solidFill>
          <a:ln w="0">
            <a:noFill/>
            <a:prstDash val="solid"/>
            <a:round/>
            <a:headEnd/>
            <a:tailEnd/>
          </a:ln>
        </p:spPr>
        <p:txBody>
          <a:bodyPr vert="horz" wrap="square" lIns="91370" tIns="72000" rIns="91370" bIns="45685" numCol="1" anchor="t" anchorCtr="0" compatLnSpc="1">
            <a:prstTxWarp prst="textNoShape">
              <a:avLst/>
            </a:prstTxWarp>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prstClr val="white"/>
                </a:solidFill>
                <a:effectLst/>
                <a:uLnTx/>
                <a:uFillTx/>
                <a:latin typeface="Calibri"/>
                <a:ea typeface="+mn-ea"/>
                <a:cs typeface="+mn-cs"/>
              </a:rPr>
              <a:t>Solution 3</a:t>
            </a:r>
            <a:endParaRPr kumimoji="0" lang="en-US" sz="1300" b="1"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Freeform 37">
            <a:extLst>
              <a:ext uri="{FF2B5EF4-FFF2-40B4-BE49-F238E27FC236}">
                <a16:creationId xmlns:a16="http://schemas.microsoft.com/office/drawing/2014/main" id="{FDC36BFD-9FED-7C46-B417-CDE657A125A3}"/>
              </a:ext>
            </a:extLst>
          </p:cNvPr>
          <p:cNvSpPr>
            <a:spLocks/>
          </p:cNvSpPr>
          <p:nvPr/>
        </p:nvSpPr>
        <p:spPr bwMode="auto">
          <a:xfrm>
            <a:off x="8168685" y="1714506"/>
            <a:ext cx="3566116" cy="2789887"/>
          </a:xfrm>
          <a:custGeom>
            <a:avLst/>
            <a:gdLst>
              <a:gd name="T0" fmla="*/ 553 w 557"/>
              <a:gd name="T1" fmla="*/ 2038 h 2146"/>
              <a:gd name="T2" fmla="*/ 553 w 557"/>
              <a:gd name="T3" fmla="*/ 2038 h 2146"/>
              <a:gd name="T4" fmla="*/ 484 w 557"/>
              <a:gd name="T5" fmla="*/ 2146 h 2146"/>
              <a:gd name="T6" fmla="*/ 71 w 557"/>
              <a:gd name="T7" fmla="*/ 2144 h 2146"/>
              <a:gd name="T8" fmla="*/ 9 w 557"/>
              <a:gd name="T9" fmla="*/ 2038 h 2146"/>
              <a:gd name="T10" fmla="*/ 9 w 557"/>
              <a:gd name="T11" fmla="*/ 103 h 2146"/>
              <a:gd name="T12" fmla="*/ 60 w 557"/>
              <a:gd name="T13" fmla="*/ 0 h 2146"/>
              <a:gd name="T14" fmla="*/ 497 w 557"/>
              <a:gd name="T15" fmla="*/ 0 h 2146"/>
              <a:gd name="T16" fmla="*/ 553 w 557"/>
              <a:gd name="T17" fmla="*/ 103 h 2146"/>
              <a:gd name="T18" fmla="*/ 553 w 557"/>
              <a:gd name="T19" fmla="*/ 2038 h 2146"/>
              <a:gd name="T20" fmla="*/ 553 w 557"/>
              <a:gd name="T21" fmla="*/ 2038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7" h="2146">
                <a:moveTo>
                  <a:pt x="553" y="2038"/>
                </a:moveTo>
                <a:lnTo>
                  <a:pt x="553" y="2038"/>
                </a:lnTo>
                <a:cubicBezTo>
                  <a:pt x="553" y="2096"/>
                  <a:pt x="544" y="2146"/>
                  <a:pt x="484" y="2146"/>
                </a:cubicBezTo>
                <a:lnTo>
                  <a:pt x="71" y="2144"/>
                </a:lnTo>
                <a:cubicBezTo>
                  <a:pt x="11" y="2144"/>
                  <a:pt x="9" y="2096"/>
                  <a:pt x="9" y="2038"/>
                </a:cubicBezTo>
                <a:lnTo>
                  <a:pt x="9" y="103"/>
                </a:lnTo>
                <a:cubicBezTo>
                  <a:pt x="9" y="45"/>
                  <a:pt x="0" y="0"/>
                  <a:pt x="60" y="0"/>
                </a:cubicBezTo>
                <a:lnTo>
                  <a:pt x="497" y="0"/>
                </a:lnTo>
                <a:cubicBezTo>
                  <a:pt x="557" y="0"/>
                  <a:pt x="553" y="45"/>
                  <a:pt x="553" y="103"/>
                </a:cubicBezTo>
                <a:lnTo>
                  <a:pt x="553" y="2038"/>
                </a:lnTo>
                <a:lnTo>
                  <a:pt x="553" y="2038"/>
                </a:lnTo>
                <a:close/>
              </a:path>
            </a:pathLst>
          </a:custGeom>
          <a:noFill/>
          <a:ln w="11"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70" tIns="45685" rIns="91370" bIns="45685" numCol="1" anchor="t" anchorCtr="0" compatLnSpc="1">
            <a:prstTxWarp prst="textNoShape">
              <a:avLst/>
            </a:prstTxWarp>
          </a:bodyPr>
          <a:lstStyle/>
          <a:p>
            <a:pPr marL="0" marR="0" lvl="0" indent="0" algn="l" defTabSz="913686"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 name="Freeform 38">
            <a:extLst>
              <a:ext uri="{FF2B5EF4-FFF2-40B4-BE49-F238E27FC236}">
                <a16:creationId xmlns:a16="http://schemas.microsoft.com/office/drawing/2014/main" id="{BE075C0F-9B09-1549-A879-1DE938DEEDB7}"/>
              </a:ext>
            </a:extLst>
          </p:cNvPr>
          <p:cNvSpPr>
            <a:spLocks/>
          </p:cNvSpPr>
          <p:nvPr/>
        </p:nvSpPr>
        <p:spPr bwMode="auto">
          <a:xfrm>
            <a:off x="8318916" y="2090290"/>
            <a:ext cx="3265656" cy="1676792"/>
          </a:xfrm>
          <a:custGeom>
            <a:avLst/>
            <a:gdLst>
              <a:gd name="T0" fmla="*/ 435 w 435"/>
              <a:gd name="T1" fmla="*/ 1072 h 1072"/>
              <a:gd name="T2" fmla="*/ 435 w 435"/>
              <a:gd name="T3" fmla="*/ 1072 h 1072"/>
              <a:gd name="T4" fmla="*/ 0 w 435"/>
              <a:gd name="T5" fmla="*/ 1072 h 1072"/>
              <a:gd name="T6" fmla="*/ 0 w 435"/>
              <a:gd name="T7" fmla="*/ 0 h 1072"/>
              <a:gd name="T8" fmla="*/ 435 w 435"/>
              <a:gd name="T9" fmla="*/ 0 h 1072"/>
              <a:gd name="T10" fmla="*/ 435 w 435"/>
              <a:gd name="T11" fmla="*/ 1072 h 1072"/>
            </a:gdLst>
            <a:ahLst/>
            <a:cxnLst>
              <a:cxn ang="0">
                <a:pos x="T0" y="T1"/>
              </a:cxn>
              <a:cxn ang="0">
                <a:pos x="T2" y="T3"/>
              </a:cxn>
              <a:cxn ang="0">
                <a:pos x="T4" y="T5"/>
              </a:cxn>
              <a:cxn ang="0">
                <a:pos x="T6" y="T7"/>
              </a:cxn>
              <a:cxn ang="0">
                <a:pos x="T8" y="T9"/>
              </a:cxn>
              <a:cxn ang="0">
                <a:pos x="T10" y="T11"/>
              </a:cxn>
            </a:cxnLst>
            <a:rect l="0" t="0" r="r" b="b"/>
            <a:pathLst>
              <a:path w="435" h="1072">
                <a:moveTo>
                  <a:pt x="435" y="1072"/>
                </a:moveTo>
                <a:lnTo>
                  <a:pt x="435" y="1072"/>
                </a:lnTo>
                <a:lnTo>
                  <a:pt x="0" y="1072"/>
                </a:lnTo>
                <a:lnTo>
                  <a:pt x="0" y="0"/>
                </a:lnTo>
                <a:lnTo>
                  <a:pt x="435" y="0"/>
                </a:lnTo>
                <a:lnTo>
                  <a:pt x="435" y="1072"/>
                </a:lnTo>
                <a:close/>
              </a:path>
            </a:pathLst>
          </a:custGeom>
          <a:solidFill>
            <a:srgbClr val="FEFEFE"/>
          </a:solidFill>
          <a:ln w="0">
            <a:noFill/>
            <a:prstDash val="solid"/>
            <a:round/>
            <a:headEnd/>
            <a:tailEnd/>
          </a:ln>
        </p:spPr>
        <p:txBody>
          <a:bodyPr vert="horz" wrap="square" lIns="91370" tIns="45685" rIns="91370" bIns="45685" numCol="1" anchor="t" anchorCtr="0" compatLnSpc="1">
            <a:prstTxWarp prst="textNoShape">
              <a:avLst/>
            </a:prstTxWarp>
          </a:bodyPr>
          <a:lstStyle/>
          <a:p>
            <a:pPr marL="123727" marR="0" lvl="1" indent="-123727" algn="l" defTabSz="913686" rtl="0" eaLnBrk="1" fontAlgn="auto" latinLnBrk="0" hangingPunct="1">
              <a:lnSpc>
                <a:spcPct val="100000"/>
              </a:lnSpc>
              <a:spcBef>
                <a:spcPts val="0"/>
              </a:spcBef>
              <a:spcAft>
                <a:spcPts val="0"/>
              </a:spcAft>
              <a:buClrTx/>
              <a:buSzPct val="100000"/>
              <a:buFont typeface="Arial"/>
              <a:buChar char="•"/>
              <a:tabLst/>
              <a:defRPr/>
            </a:pPr>
            <a:r>
              <a:rPr kumimoji="0" lang="en-US" sz="1300" b="0" i="0" u="none" strike="noStrike" kern="1200" cap="none" spc="0" normalizeH="0" baseline="0" noProof="0" dirty="0">
                <a:ln>
                  <a:noFill/>
                </a:ln>
                <a:solidFill>
                  <a:srgbClr val="313131"/>
                </a:solidFill>
                <a:effectLst/>
                <a:uLnTx/>
                <a:uFillTx/>
                <a:latin typeface="Calibri"/>
                <a:ea typeface="+mn-ea"/>
                <a:cs typeface="+mn-cs"/>
              </a:rPr>
              <a:t>This is dummy text it is not here to be read. The is just text to show where you could insert text. The is just text to show where you could insert text. Please replace with your text content here.</a:t>
            </a:r>
          </a:p>
        </p:txBody>
      </p:sp>
      <p:sp>
        <p:nvSpPr>
          <p:cNvPr id="75" name="Rectangle 74">
            <a:extLst>
              <a:ext uri="{FF2B5EF4-FFF2-40B4-BE49-F238E27FC236}">
                <a16:creationId xmlns:a16="http://schemas.microsoft.com/office/drawing/2014/main" id="{C992C2E0-DF1D-7B42-A0E5-6214EC68DD91}"/>
              </a:ext>
            </a:extLst>
          </p:cNvPr>
          <p:cNvSpPr/>
          <p:nvPr/>
        </p:nvSpPr>
        <p:spPr>
          <a:xfrm>
            <a:off x="457201" y="4768398"/>
            <a:ext cx="11286658" cy="925827"/>
          </a:xfrm>
          <a:prstGeom prst="rect">
            <a:avLst/>
          </a:prstGeom>
          <a:solidFill>
            <a:schemeClr val="bg1"/>
          </a:solidFill>
          <a:ln w="12700" cap="flat" cmpd="sng" algn="ctr">
            <a:solidFill>
              <a:srgbClr val="000000"/>
            </a:solid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FFFFFF"/>
              </a:solidFill>
              <a:effectLst/>
              <a:uLnTx/>
              <a:uFillTx/>
              <a:latin typeface="Calibri"/>
              <a:ea typeface="+mn-ea"/>
              <a:cs typeface="Arial" charset="0"/>
            </a:endParaRPr>
          </a:p>
        </p:txBody>
      </p:sp>
      <p:sp>
        <p:nvSpPr>
          <p:cNvPr id="76" name="Isosceles Triangle 80">
            <a:extLst>
              <a:ext uri="{FF2B5EF4-FFF2-40B4-BE49-F238E27FC236}">
                <a16:creationId xmlns:a16="http://schemas.microsoft.com/office/drawing/2014/main" id="{FB5F5A2C-FF34-8442-8320-23720DC97592}"/>
              </a:ext>
            </a:extLst>
          </p:cNvPr>
          <p:cNvSpPr/>
          <p:nvPr/>
        </p:nvSpPr>
        <p:spPr>
          <a:xfrm>
            <a:off x="2038711" y="4690012"/>
            <a:ext cx="365822" cy="96733"/>
          </a:xfrm>
          <a:prstGeom prst="triangle">
            <a:avLst/>
          </a:prstGeom>
          <a:solidFill>
            <a:srgbClr val="53565A"/>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FFFFFF"/>
              </a:solidFill>
              <a:effectLst/>
              <a:uLnTx/>
              <a:uFillTx/>
              <a:latin typeface="Calibri"/>
              <a:ea typeface="+mn-ea"/>
              <a:cs typeface="Arial" charset="0"/>
            </a:endParaRPr>
          </a:p>
        </p:txBody>
      </p:sp>
      <p:sp>
        <p:nvSpPr>
          <p:cNvPr id="77" name="Isosceles Triangle 81">
            <a:extLst>
              <a:ext uri="{FF2B5EF4-FFF2-40B4-BE49-F238E27FC236}">
                <a16:creationId xmlns:a16="http://schemas.microsoft.com/office/drawing/2014/main" id="{6ED4616B-A7FE-DB44-B582-4D813AC2EBBE}"/>
              </a:ext>
            </a:extLst>
          </p:cNvPr>
          <p:cNvSpPr/>
          <p:nvPr/>
        </p:nvSpPr>
        <p:spPr>
          <a:xfrm>
            <a:off x="5913686" y="4690012"/>
            <a:ext cx="365822" cy="96733"/>
          </a:xfrm>
          <a:prstGeom prst="triangle">
            <a:avLst/>
          </a:prstGeom>
          <a:solidFill>
            <a:srgbClr val="53565A"/>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FFFFFF"/>
              </a:solidFill>
              <a:effectLst/>
              <a:uLnTx/>
              <a:uFillTx/>
              <a:latin typeface="Calibri"/>
              <a:ea typeface="+mn-ea"/>
              <a:cs typeface="Arial" charset="0"/>
            </a:endParaRPr>
          </a:p>
        </p:txBody>
      </p:sp>
      <p:sp>
        <p:nvSpPr>
          <p:cNvPr id="78" name="Isosceles Triangle 82">
            <a:extLst>
              <a:ext uri="{FF2B5EF4-FFF2-40B4-BE49-F238E27FC236}">
                <a16:creationId xmlns:a16="http://schemas.microsoft.com/office/drawing/2014/main" id="{F5685118-C208-B34F-8DC7-8EC85FBBE8B2}"/>
              </a:ext>
            </a:extLst>
          </p:cNvPr>
          <p:cNvSpPr/>
          <p:nvPr/>
        </p:nvSpPr>
        <p:spPr>
          <a:xfrm>
            <a:off x="9768832" y="4690012"/>
            <a:ext cx="365822" cy="96733"/>
          </a:xfrm>
          <a:prstGeom prst="triangle">
            <a:avLst/>
          </a:prstGeom>
          <a:solidFill>
            <a:srgbClr val="53565A"/>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FFFFFF"/>
              </a:solidFill>
              <a:effectLst/>
              <a:uLnTx/>
              <a:uFillTx/>
              <a:latin typeface="Calibri"/>
              <a:ea typeface="+mn-ea"/>
              <a:cs typeface="Arial" charset="0"/>
            </a:endParaRPr>
          </a:p>
        </p:txBody>
      </p:sp>
      <p:sp>
        <p:nvSpPr>
          <p:cNvPr id="79" name="Rectangle 78">
            <a:extLst>
              <a:ext uri="{FF2B5EF4-FFF2-40B4-BE49-F238E27FC236}">
                <a16:creationId xmlns:a16="http://schemas.microsoft.com/office/drawing/2014/main" id="{861E021D-B31A-7B4D-81F1-01B8EC6A0101}"/>
              </a:ext>
            </a:extLst>
          </p:cNvPr>
          <p:cNvSpPr/>
          <p:nvPr/>
        </p:nvSpPr>
        <p:spPr>
          <a:xfrm>
            <a:off x="678034" y="5106023"/>
            <a:ext cx="5247515" cy="400110"/>
          </a:xfrm>
          <a:prstGeom prst="rect">
            <a:avLst/>
          </a:prstGeom>
          <a:noFill/>
        </p:spPr>
        <p:txBody>
          <a:bodyPr wrap="square" lIns="0" tIns="0" rIns="0" bIns="0" rtlCol="0">
            <a:spAutoFit/>
          </a:bodyPr>
          <a:lstStyle/>
          <a:p>
            <a:pPr marL="123727" marR="0" lvl="1" indent="-123727" algn="l" defTabSz="913686" rtl="0" eaLnBrk="1" fontAlgn="auto" latinLnBrk="0" hangingPunct="1">
              <a:lnSpc>
                <a:spcPct val="100000"/>
              </a:lnSpc>
              <a:spcBef>
                <a:spcPts val="0"/>
              </a:spcBef>
              <a:spcAft>
                <a:spcPts val="0"/>
              </a:spcAft>
              <a:buClrTx/>
              <a:buSzPct val="100000"/>
              <a:buFont typeface="Arial"/>
              <a:buChar char="•"/>
              <a:tabLst/>
              <a:defRPr/>
            </a:pPr>
            <a:r>
              <a:rPr kumimoji="0" lang="en-US" sz="1300" b="0" i="0" u="none" strike="noStrike" kern="1200" cap="none" spc="0" normalizeH="0" baseline="0" noProof="0" dirty="0">
                <a:ln>
                  <a:noFill/>
                </a:ln>
                <a:solidFill>
                  <a:srgbClr val="313131"/>
                </a:solidFill>
                <a:effectLst/>
                <a:uLnTx/>
                <a:uFillTx/>
                <a:latin typeface="Calibri"/>
                <a:ea typeface="+mn-ea"/>
                <a:cs typeface="+mn-cs"/>
              </a:rPr>
              <a:t>This is dummy text it is not here to be read. The is just text to show where you could insert text. </a:t>
            </a:r>
          </a:p>
        </p:txBody>
      </p:sp>
      <p:sp>
        <p:nvSpPr>
          <p:cNvPr id="80" name="Rectangle 79">
            <a:extLst>
              <a:ext uri="{FF2B5EF4-FFF2-40B4-BE49-F238E27FC236}">
                <a16:creationId xmlns:a16="http://schemas.microsoft.com/office/drawing/2014/main" id="{53346094-7765-0748-B0DF-36C96890EA5A}"/>
              </a:ext>
            </a:extLst>
          </p:cNvPr>
          <p:cNvSpPr/>
          <p:nvPr/>
        </p:nvSpPr>
        <p:spPr>
          <a:xfrm>
            <a:off x="457200" y="4768397"/>
            <a:ext cx="11277600" cy="271708"/>
          </a:xfrm>
          <a:prstGeom prst="rect">
            <a:avLst/>
          </a:prstGeom>
          <a:solidFill>
            <a:srgbClr val="53565A"/>
          </a:solidFill>
        </p:spPr>
        <p:txBody>
          <a:bodyPr wrap="none" lIns="91370" tIns="91370" rIns="91370" bIns="91370" rtlCol="0" anchor="ctr">
            <a:noAutofit/>
          </a:bodyPr>
          <a:lstStyle/>
          <a:p>
            <a:pPr marL="0" marR="0" lvl="1" indent="0" algn="ctr" defTabSz="913686" rtl="0" eaLnBrk="1" fontAlgn="auto" latinLnBrk="0" hangingPunct="1">
              <a:lnSpc>
                <a:spcPct val="100000"/>
              </a:lnSpc>
              <a:spcBef>
                <a:spcPts val="0"/>
              </a:spcBef>
              <a:spcAft>
                <a:spcPts val="0"/>
              </a:spcAft>
              <a:buClrTx/>
              <a:buSzPct val="100000"/>
              <a:buFontTx/>
              <a:buNone/>
              <a:tabLst/>
              <a:defRPr/>
            </a:pPr>
            <a:r>
              <a:rPr kumimoji="0" lang="en-US" sz="1300" b="1" i="0" u="none" strike="noStrike" kern="1200" cap="none" spc="0" normalizeH="0" baseline="0" noProof="0" dirty="0">
                <a:ln>
                  <a:noFill/>
                </a:ln>
                <a:solidFill>
                  <a:prstClr val="white"/>
                </a:solidFill>
                <a:effectLst/>
                <a:uLnTx/>
                <a:uFillTx/>
                <a:latin typeface="Calibri"/>
                <a:ea typeface="+mn-ea"/>
                <a:cs typeface="+mn-cs"/>
              </a:rPr>
              <a:t>This is dummy text it is not here to be read. </a:t>
            </a:r>
          </a:p>
        </p:txBody>
      </p:sp>
      <p:sp>
        <p:nvSpPr>
          <p:cNvPr id="44" name="Subtitle 2">
            <a:extLst>
              <a:ext uri="{FF2B5EF4-FFF2-40B4-BE49-F238E27FC236}">
                <a16:creationId xmlns:a16="http://schemas.microsoft.com/office/drawing/2014/main" id="{E862A832-51A5-6F43-8219-4E69056A9E09}"/>
              </a:ext>
            </a:extLst>
          </p:cNvPr>
          <p:cNvSpPr txBox="1">
            <a:spLocks/>
          </p:cNvSpPr>
          <p:nvPr/>
        </p:nvSpPr>
        <p:spPr>
          <a:xfrm>
            <a:off x="457201" y="6024493"/>
            <a:ext cx="11277600" cy="384579"/>
          </a:xfrm>
          <a:prstGeom prst="rect">
            <a:avLst/>
          </a:prstGeom>
          <a:solidFill>
            <a:srgbClr val="53565A"/>
          </a:solidFill>
        </p:spPr>
        <p:txBody>
          <a:bodyPr vert="horz" wrap="square" lIns="91362" tIns="91370" rIns="91362" bIns="91370" rtlCol="0" anchor="ctr">
            <a:sp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300" b="1" i="0" u="none" strike="noStrike" kern="1200" cap="none" spc="0" normalizeH="0" baseline="0" noProof="0" dirty="0">
                <a:ln>
                  <a:noFill/>
                </a:ln>
                <a:solidFill>
                  <a:prstClr val="white"/>
                </a:solidFill>
                <a:effectLst/>
                <a:uLnTx/>
                <a:uFillTx/>
                <a:latin typeface="Calibri"/>
                <a:ea typeface="+mn-ea"/>
                <a:cs typeface="+mn-cs"/>
              </a:rPr>
              <a:t>The is just text to show where you could insert text.  </a:t>
            </a:r>
          </a:p>
        </p:txBody>
      </p:sp>
      <p:grpSp>
        <p:nvGrpSpPr>
          <p:cNvPr id="42" name="Group 226">
            <a:extLst>
              <a:ext uri="{FF2B5EF4-FFF2-40B4-BE49-F238E27FC236}">
                <a16:creationId xmlns:a16="http://schemas.microsoft.com/office/drawing/2014/main" id="{CD748B91-5C7C-4C26-B608-81587DCBACE5}"/>
              </a:ext>
            </a:extLst>
          </p:cNvPr>
          <p:cNvGrpSpPr>
            <a:grpSpLocks noChangeAspect="1"/>
          </p:cNvGrpSpPr>
          <p:nvPr/>
        </p:nvGrpSpPr>
        <p:grpSpPr bwMode="auto">
          <a:xfrm>
            <a:off x="9677423" y="3921001"/>
            <a:ext cx="548640" cy="548640"/>
            <a:chOff x="5048" y="783"/>
            <a:chExt cx="340" cy="340"/>
          </a:xfrm>
          <a:solidFill>
            <a:schemeClr val="bg1"/>
          </a:solidFill>
        </p:grpSpPr>
        <p:sp>
          <p:nvSpPr>
            <p:cNvPr id="43" name="Freeform 227">
              <a:extLst>
                <a:ext uri="{FF2B5EF4-FFF2-40B4-BE49-F238E27FC236}">
                  <a16:creationId xmlns:a16="http://schemas.microsoft.com/office/drawing/2014/main" id="{8DE35988-5343-4AFF-8ACF-632A7A5B3C7B}"/>
                </a:ext>
              </a:extLst>
            </p:cNvPr>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Freeform 228">
              <a:extLst>
                <a:ext uri="{FF2B5EF4-FFF2-40B4-BE49-F238E27FC236}">
                  <a16:creationId xmlns:a16="http://schemas.microsoft.com/office/drawing/2014/main" id="{0D104D79-59B7-4E7B-BE28-544273955D29}"/>
                </a:ext>
              </a:extLst>
            </p:cNvPr>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47" name="Group 784">
            <a:extLst>
              <a:ext uri="{FF2B5EF4-FFF2-40B4-BE49-F238E27FC236}">
                <a16:creationId xmlns:a16="http://schemas.microsoft.com/office/drawing/2014/main" id="{BEE941C4-6990-4E6E-A399-91082903CCAD}"/>
              </a:ext>
            </a:extLst>
          </p:cNvPr>
          <p:cNvGrpSpPr>
            <a:grpSpLocks noChangeAspect="1"/>
          </p:cNvGrpSpPr>
          <p:nvPr/>
        </p:nvGrpSpPr>
        <p:grpSpPr bwMode="auto">
          <a:xfrm>
            <a:off x="5822277" y="3921001"/>
            <a:ext cx="548640" cy="548640"/>
            <a:chOff x="2657" y="3361"/>
            <a:chExt cx="340" cy="340"/>
          </a:xfrm>
          <a:solidFill>
            <a:schemeClr val="bg1"/>
          </a:solidFill>
        </p:grpSpPr>
        <p:sp>
          <p:nvSpPr>
            <p:cNvPr id="48" name="Freeform 785">
              <a:extLst>
                <a:ext uri="{FF2B5EF4-FFF2-40B4-BE49-F238E27FC236}">
                  <a16:creationId xmlns:a16="http://schemas.microsoft.com/office/drawing/2014/main" id="{73A7DCF6-C6D1-45F4-826B-2878CF250082}"/>
                </a:ext>
              </a:extLst>
            </p:cNvPr>
            <p:cNvSpPr>
              <a:spLocks noEditPoints="1"/>
            </p:cNvSpPr>
            <p:nvPr/>
          </p:nvSpPr>
          <p:spPr bwMode="auto">
            <a:xfrm>
              <a:off x="2721" y="3439"/>
              <a:ext cx="212" cy="170"/>
            </a:xfrm>
            <a:custGeom>
              <a:avLst/>
              <a:gdLst>
                <a:gd name="T0" fmla="*/ 313 w 320"/>
                <a:gd name="T1" fmla="*/ 33 h 257"/>
                <a:gd name="T2" fmla="*/ 239 w 320"/>
                <a:gd name="T3" fmla="*/ 1 h 257"/>
                <a:gd name="T4" fmla="*/ 230 w 320"/>
                <a:gd name="T5" fmla="*/ 1 h 257"/>
                <a:gd name="T6" fmla="*/ 160 w 320"/>
                <a:gd name="T7" fmla="*/ 31 h 257"/>
                <a:gd name="T8" fmla="*/ 89 w 320"/>
                <a:gd name="T9" fmla="*/ 1 h 257"/>
                <a:gd name="T10" fmla="*/ 81 w 320"/>
                <a:gd name="T11" fmla="*/ 1 h 257"/>
                <a:gd name="T12" fmla="*/ 6 w 320"/>
                <a:gd name="T13" fmla="*/ 33 h 257"/>
                <a:gd name="T14" fmla="*/ 0 w 320"/>
                <a:gd name="T15" fmla="*/ 43 h 257"/>
                <a:gd name="T16" fmla="*/ 0 w 320"/>
                <a:gd name="T17" fmla="*/ 245 h 257"/>
                <a:gd name="T18" fmla="*/ 4 w 320"/>
                <a:gd name="T19" fmla="*/ 254 h 257"/>
                <a:gd name="T20" fmla="*/ 15 w 320"/>
                <a:gd name="T21" fmla="*/ 255 h 257"/>
                <a:gd name="T22" fmla="*/ 85 w 320"/>
                <a:gd name="T23" fmla="*/ 225 h 257"/>
                <a:gd name="T24" fmla="*/ 155 w 320"/>
                <a:gd name="T25" fmla="*/ 255 h 257"/>
                <a:gd name="T26" fmla="*/ 164 w 320"/>
                <a:gd name="T27" fmla="*/ 255 h 257"/>
                <a:gd name="T28" fmla="*/ 234 w 320"/>
                <a:gd name="T29" fmla="*/ 225 h 257"/>
                <a:gd name="T30" fmla="*/ 305 w 320"/>
                <a:gd name="T31" fmla="*/ 255 h 257"/>
                <a:gd name="T32" fmla="*/ 309 w 320"/>
                <a:gd name="T33" fmla="*/ 256 h 257"/>
                <a:gd name="T34" fmla="*/ 315 w 320"/>
                <a:gd name="T35" fmla="*/ 254 h 257"/>
                <a:gd name="T36" fmla="*/ 320 w 320"/>
                <a:gd name="T37" fmla="*/ 245 h 257"/>
                <a:gd name="T38" fmla="*/ 320 w 320"/>
                <a:gd name="T39" fmla="*/ 43 h 257"/>
                <a:gd name="T40" fmla="*/ 313 w 320"/>
                <a:gd name="T41" fmla="*/ 33 h 257"/>
                <a:gd name="T42" fmla="*/ 96 w 320"/>
                <a:gd name="T43" fmla="*/ 27 h 257"/>
                <a:gd name="T44" fmla="*/ 149 w 320"/>
                <a:gd name="T45" fmla="*/ 50 h 257"/>
                <a:gd name="T46" fmla="*/ 149 w 320"/>
                <a:gd name="T47" fmla="*/ 229 h 257"/>
                <a:gd name="T48" fmla="*/ 96 w 320"/>
                <a:gd name="T49" fmla="*/ 206 h 257"/>
                <a:gd name="T50" fmla="*/ 96 w 320"/>
                <a:gd name="T51" fmla="*/ 27 h 257"/>
                <a:gd name="T52" fmla="*/ 170 w 320"/>
                <a:gd name="T53" fmla="*/ 50 h 257"/>
                <a:gd name="T54" fmla="*/ 224 w 320"/>
                <a:gd name="T55" fmla="*/ 27 h 257"/>
                <a:gd name="T56" fmla="*/ 224 w 320"/>
                <a:gd name="T57" fmla="*/ 206 h 257"/>
                <a:gd name="T58" fmla="*/ 170 w 320"/>
                <a:gd name="T59" fmla="*/ 229 h 257"/>
                <a:gd name="T60" fmla="*/ 170 w 320"/>
                <a:gd name="T61" fmla="*/ 50 h 257"/>
                <a:gd name="T62" fmla="*/ 21 w 320"/>
                <a:gd name="T63" fmla="*/ 50 h 257"/>
                <a:gd name="T64" fmla="*/ 74 w 320"/>
                <a:gd name="T65" fmla="*/ 27 h 257"/>
                <a:gd name="T66" fmla="*/ 74 w 320"/>
                <a:gd name="T67" fmla="*/ 206 h 257"/>
                <a:gd name="T68" fmla="*/ 21 w 320"/>
                <a:gd name="T69" fmla="*/ 229 h 257"/>
                <a:gd name="T70" fmla="*/ 21 w 320"/>
                <a:gd name="T71" fmla="*/ 50 h 257"/>
                <a:gd name="T72" fmla="*/ 298 w 320"/>
                <a:gd name="T73" fmla="*/ 229 h 257"/>
                <a:gd name="T74" fmla="*/ 245 w 320"/>
                <a:gd name="T75" fmla="*/ 206 h 257"/>
                <a:gd name="T76" fmla="*/ 245 w 320"/>
                <a:gd name="T77" fmla="*/ 27 h 257"/>
                <a:gd name="T78" fmla="*/ 298 w 320"/>
                <a:gd name="T79" fmla="*/ 50 h 257"/>
                <a:gd name="T80" fmla="*/ 298 w 320"/>
                <a:gd name="T81" fmla="*/ 22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57">
                  <a:moveTo>
                    <a:pt x="313" y="33"/>
                  </a:moveTo>
                  <a:cubicBezTo>
                    <a:pt x="239" y="1"/>
                    <a:pt x="239" y="1"/>
                    <a:pt x="239" y="1"/>
                  </a:cubicBezTo>
                  <a:cubicBezTo>
                    <a:pt x="236" y="0"/>
                    <a:pt x="233" y="0"/>
                    <a:pt x="230" y="1"/>
                  </a:cubicBezTo>
                  <a:cubicBezTo>
                    <a:pt x="160" y="31"/>
                    <a:pt x="160" y="31"/>
                    <a:pt x="160" y="31"/>
                  </a:cubicBezTo>
                  <a:cubicBezTo>
                    <a:pt x="89" y="1"/>
                    <a:pt x="89" y="1"/>
                    <a:pt x="89" y="1"/>
                  </a:cubicBezTo>
                  <a:cubicBezTo>
                    <a:pt x="87" y="0"/>
                    <a:pt x="83" y="0"/>
                    <a:pt x="81" y="1"/>
                  </a:cubicBezTo>
                  <a:cubicBezTo>
                    <a:pt x="6" y="33"/>
                    <a:pt x="6" y="33"/>
                    <a:pt x="6" y="33"/>
                  </a:cubicBezTo>
                  <a:cubicBezTo>
                    <a:pt x="2" y="35"/>
                    <a:pt x="0" y="38"/>
                    <a:pt x="0" y="43"/>
                  </a:cubicBezTo>
                  <a:cubicBezTo>
                    <a:pt x="0" y="245"/>
                    <a:pt x="0" y="245"/>
                    <a:pt x="0" y="245"/>
                  </a:cubicBezTo>
                  <a:cubicBezTo>
                    <a:pt x="0" y="249"/>
                    <a:pt x="1" y="252"/>
                    <a:pt x="4" y="254"/>
                  </a:cubicBezTo>
                  <a:cubicBezTo>
                    <a:pt x="7" y="256"/>
                    <a:pt x="11" y="257"/>
                    <a:pt x="15" y="255"/>
                  </a:cubicBezTo>
                  <a:cubicBezTo>
                    <a:pt x="85" y="225"/>
                    <a:pt x="85" y="225"/>
                    <a:pt x="85" y="225"/>
                  </a:cubicBezTo>
                  <a:cubicBezTo>
                    <a:pt x="155" y="255"/>
                    <a:pt x="155" y="255"/>
                    <a:pt x="155" y="255"/>
                  </a:cubicBezTo>
                  <a:cubicBezTo>
                    <a:pt x="158" y="256"/>
                    <a:pt x="161" y="256"/>
                    <a:pt x="164" y="255"/>
                  </a:cubicBezTo>
                  <a:cubicBezTo>
                    <a:pt x="234" y="225"/>
                    <a:pt x="234" y="225"/>
                    <a:pt x="234" y="225"/>
                  </a:cubicBezTo>
                  <a:cubicBezTo>
                    <a:pt x="305" y="255"/>
                    <a:pt x="305" y="255"/>
                    <a:pt x="305" y="255"/>
                  </a:cubicBezTo>
                  <a:cubicBezTo>
                    <a:pt x="306" y="256"/>
                    <a:pt x="308" y="256"/>
                    <a:pt x="309" y="256"/>
                  </a:cubicBezTo>
                  <a:cubicBezTo>
                    <a:pt x="311" y="256"/>
                    <a:pt x="313" y="255"/>
                    <a:pt x="315" y="254"/>
                  </a:cubicBezTo>
                  <a:cubicBezTo>
                    <a:pt x="318" y="252"/>
                    <a:pt x="320" y="249"/>
                    <a:pt x="320" y="245"/>
                  </a:cubicBezTo>
                  <a:cubicBezTo>
                    <a:pt x="320" y="43"/>
                    <a:pt x="320" y="43"/>
                    <a:pt x="320" y="43"/>
                  </a:cubicBezTo>
                  <a:cubicBezTo>
                    <a:pt x="320" y="38"/>
                    <a:pt x="317" y="35"/>
                    <a:pt x="313" y="33"/>
                  </a:cubicBezTo>
                  <a:close/>
                  <a:moveTo>
                    <a:pt x="96" y="27"/>
                  </a:moveTo>
                  <a:cubicBezTo>
                    <a:pt x="149" y="50"/>
                    <a:pt x="149" y="50"/>
                    <a:pt x="149" y="50"/>
                  </a:cubicBezTo>
                  <a:cubicBezTo>
                    <a:pt x="149" y="229"/>
                    <a:pt x="149" y="229"/>
                    <a:pt x="149" y="229"/>
                  </a:cubicBezTo>
                  <a:cubicBezTo>
                    <a:pt x="96" y="206"/>
                    <a:pt x="96" y="206"/>
                    <a:pt x="96" y="206"/>
                  </a:cubicBezTo>
                  <a:lnTo>
                    <a:pt x="96" y="27"/>
                  </a:lnTo>
                  <a:close/>
                  <a:moveTo>
                    <a:pt x="170" y="50"/>
                  </a:moveTo>
                  <a:cubicBezTo>
                    <a:pt x="224" y="27"/>
                    <a:pt x="224" y="27"/>
                    <a:pt x="224" y="27"/>
                  </a:cubicBezTo>
                  <a:cubicBezTo>
                    <a:pt x="224" y="206"/>
                    <a:pt x="224" y="206"/>
                    <a:pt x="224" y="206"/>
                  </a:cubicBezTo>
                  <a:cubicBezTo>
                    <a:pt x="170" y="229"/>
                    <a:pt x="170" y="229"/>
                    <a:pt x="170" y="229"/>
                  </a:cubicBezTo>
                  <a:lnTo>
                    <a:pt x="170" y="50"/>
                  </a:lnTo>
                  <a:close/>
                  <a:moveTo>
                    <a:pt x="21" y="50"/>
                  </a:moveTo>
                  <a:cubicBezTo>
                    <a:pt x="74" y="27"/>
                    <a:pt x="74" y="27"/>
                    <a:pt x="74" y="27"/>
                  </a:cubicBezTo>
                  <a:cubicBezTo>
                    <a:pt x="74" y="206"/>
                    <a:pt x="74" y="206"/>
                    <a:pt x="74" y="206"/>
                  </a:cubicBezTo>
                  <a:cubicBezTo>
                    <a:pt x="21" y="229"/>
                    <a:pt x="21" y="229"/>
                    <a:pt x="21" y="229"/>
                  </a:cubicBezTo>
                  <a:lnTo>
                    <a:pt x="21" y="50"/>
                  </a:lnTo>
                  <a:close/>
                  <a:moveTo>
                    <a:pt x="298" y="229"/>
                  </a:moveTo>
                  <a:cubicBezTo>
                    <a:pt x="245" y="206"/>
                    <a:pt x="245" y="206"/>
                    <a:pt x="245" y="206"/>
                  </a:cubicBezTo>
                  <a:cubicBezTo>
                    <a:pt x="245" y="27"/>
                    <a:pt x="245" y="27"/>
                    <a:pt x="245" y="27"/>
                  </a:cubicBezTo>
                  <a:cubicBezTo>
                    <a:pt x="298" y="50"/>
                    <a:pt x="298" y="50"/>
                    <a:pt x="298" y="50"/>
                  </a:cubicBezTo>
                  <a:lnTo>
                    <a:pt x="298" y="2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 name="Freeform 786">
              <a:extLst>
                <a:ext uri="{FF2B5EF4-FFF2-40B4-BE49-F238E27FC236}">
                  <a16:creationId xmlns:a16="http://schemas.microsoft.com/office/drawing/2014/main" id="{2A966F04-C725-4AA5-A652-4B7D8209BADD}"/>
                </a:ext>
              </a:extLst>
            </p:cNvPr>
            <p:cNvSpPr>
              <a:spLocks noEditPoints="1"/>
            </p:cNvSpPr>
            <p:nvPr/>
          </p:nvSpPr>
          <p:spPr bwMode="auto">
            <a:xfrm>
              <a:off x="2657" y="33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50" name="Group 376">
            <a:extLst>
              <a:ext uri="{FF2B5EF4-FFF2-40B4-BE49-F238E27FC236}">
                <a16:creationId xmlns:a16="http://schemas.microsoft.com/office/drawing/2014/main" id="{224AA7AB-854F-438E-ACB2-91E494214912}"/>
              </a:ext>
            </a:extLst>
          </p:cNvPr>
          <p:cNvGrpSpPr>
            <a:grpSpLocks noChangeAspect="1"/>
          </p:cNvGrpSpPr>
          <p:nvPr/>
        </p:nvGrpSpPr>
        <p:grpSpPr bwMode="auto">
          <a:xfrm>
            <a:off x="1947302" y="3921001"/>
            <a:ext cx="548640" cy="548640"/>
            <a:chOff x="3466" y="2823"/>
            <a:chExt cx="340" cy="340"/>
          </a:xfrm>
          <a:solidFill>
            <a:schemeClr val="bg1"/>
          </a:solidFill>
        </p:grpSpPr>
        <p:sp>
          <p:nvSpPr>
            <p:cNvPr id="51" name="Freeform 377">
              <a:extLst>
                <a:ext uri="{FF2B5EF4-FFF2-40B4-BE49-F238E27FC236}">
                  <a16:creationId xmlns:a16="http://schemas.microsoft.com/office/drawing/2014/main" id="{C70AD5D3-130C-402F-9B56-62332BF75F4A}"/>
                </a:ext>
              </a:extLst>
            </p:cNvPr>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 name="Freeform 378">
              <a:extLst>
                <a:ext uri="{FF2B5EF4-FFF2-40B4-BE49-F238E27FC236}">
                  <a16:creationId xmlns:a16="http://schemas.microsoft.com/office/drawing/2014/main" id="{416A6B4A-12C6-4231-B317-8545BD0FD185}"/>
                </a:ext>
              </a:extLst>
            </p:cNvPr>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6" name="Rectangle 35">
            <a:extLst>
              <a:ext uri="{FF2B5EF4-FFF2-40B4-BE49-F238E27FC236}">
                <a16:creationId xmlns:a16="http://schemas.microsoft.com/office/drawing/2014/main" id="{861E021D-B31A-7B4D-81F1-01B8EC6A0101}"/>
              </a:ext>
            </a:extLst>
          </p:cNvPr>
          <p:cNvSpPr/>
          <p:nvPr/>
        </p:nvSpPr>
        <p:spPr>
          <a:xfrm>
            <a:off x="6267643" y="5106023"/>
            <a:ext cx="5244907" cy="400110"/>
          </a:xfrm>
          <a:prstGeom prst="rect">
            <a:avLst/>
          </a:prstGeom>
          <a:noFill/>
        </p:spPr>
        <p:txBody>
          <a:bodyPr wrap="square" lIns="0" tIns="0" rIns="0" bIns="0" rtlCol="0">
            <a:spAutoFit/>
          </a:bodyPr>
          <a:lstStyle/>
          <a:p>
            <a:pPr marL="123727" marR="0" lvl="1" indent="-123727" algn="l" defTabSz="913686" rtl="0" eaLnBrk="1" fontAlgn="auto" latinLnBrk="0" hangingPunct="1">
              <a:lnSpc>
                <a:spcPct val="100000"/>
              </a:lnSpc>
              <a:spcBef>
                <a:spcPts val="0"/>
              </a:spcBef>
              <a:spcAft>
                <a:spcPts val="0"/>
              </a:spcAft>
              <a:buClrTx/>
              <a:buSzPct val="100000"/>
              <a:buFont typeface="Arial"/>
              <a:buChar char="•"/>
              <a:tabLst/>
              <a:defRPr/>
            </a:pPr>
            <a:r>
              <a:rPr kumimoji="0" lang="en-US" sz="1300" b="0" i="0" u="none" strike="noStrike" kern="1200" cap="none" spc="0" normalizeH="0" baseline="0" noProof="0" dirty="0">
                <a:ln>
                  <a:noFill/>
                </a:ln>
                <a:solidFill>
                  <a:srgbClr val="313131"/>
                </a:solidFill>
                <a:effectLst/>
                <a:uLnTx/>
                <a:uFillTx/>
                <a:latin typeface="Calibri"/>
                <a:ea typeface="+mn-ea"/>
                <a:cs typeface="+mn-cs"/>
              </a:rPr>
              <a:t>This is dummy text it is not here to be read. The is just text to show where you could insert text. </a:t>
            </a:r>
          </a:p>
        </p:txBody>
      </p:sp>
      <p:sp>
        <p:nvSpPr>
          <p:cNvPr id="32" name="Title 2">
            <a:extLst>
              <a:ext uri="{FF2B5EF4-FFF2-40B4-BE49-F238E27FC236}">
                <a16:creationId xmlns:a16="http://schemas.microsoft.com/office/drawing/2014/main" id="{77E5DDC4-98C6-4F38-988F-49A391A4FC88}"/>
              </a:ext>
            </a:extLst>
          </p:cNvPr>
          <p:cNvSpPr txBox="1">
            <a:spLocks/>
          </p:cNvSpPr>
          <p:nvPr/>
        </p:nvSpPr>
        <p:spPr>
          <a:xfrm>
            <a:off x="501650" y="317500"/>
            <a:ext cx="11188700" cy="334099"/>
          </a:xfrm>
          <a:prstGeom prst="rect">
            <a:avLst/>
          </a:prstGeom>
        </p:spPr>
        <p:txBody>
          <a:bodyPr/>
          <a:lst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dirty="0"/>
              <a:t>Data Understanding</a:t>
            </a:r>
          </a:p>
        </p:txBody>
      </p:sp>
    </p:spTree>
    <p:extLst>
      <p:ext uri="{BB962C8B-B14F-4D97-AF65-F5344CB8AC3E}">
        <p14:creationId xmlns:p14="http://schemas.microsoft.com/office/powerpoint/2010/main" val="37232404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直接连接符 13"/>
          <p:cNvCxnSpPr>
            <a:cxnSpLocks noChangeShapeType="1"/>
          </p:cNvCxnSpPr>
          <p:nvPr/>
        </p:nvCxnSpPr>
        <p:spPr bwMode="auto">
          <a:xfrm>
            <a:off x="4256416" y="2707994"/>
            <a:ext cx="1718886" cy="2173865"/>
          </a:xfrm>
          <a:prstGeom prst="line">
            <a:avLst/>
          </a:prstGeom>
          <a:noFill/>
          <a:ln w="38100">
            <a:solidFill>
              <a:srgbClr val="43B02A"/>
            </a:solidFill>
            <a:miter lim="800000"/>
            <a:headEnd/>
            <a:tailEnd/>
          </a:ln>
          <a:extLst>
            <a:ext uri="{909E8E84-426E-40DD-AFC4-6F175D3DCCD1}">
              <a14:hiddenFill xmlns:a14="http://schemas.microsoft.com/office/drawing/2010/main">
                <a:noFill/>
              </a14:hiddenFill>
            </a:ext>
          </a:extLst>
        </p:spPr>
      </p:cxnSp>
      <p:cxnSp>
        <p:nvCxnSpPr>
          <p:cNvPr id="9" name="直接连接符 15"/>
          <p:cNvCxnSpPr>
            <a:cxnSpLocks noChangeShapeType="1"/>
            <a:stCxn id="29" idx="18"/>
          </p:cNvCxnSpPr>
          <p:nvPr/>
        </p:nvCxnSpPr>
        <p:spPr bwMode="auto">
          <a:xfrm flipV="1">
            <a:off x="7388056" y="4433390"/>
            <a:ext cx="2362128" cy="950194"/>
          </a:xfrm>
          <a:prstGeom prst="line">
            <a:avLst/>
          </a:prstGeom>
          <a:noFill/>
          <a:ln w="38100">
            <a:solidFill>
              <a:schemeClr val="tx2"/>
            </a:solidFill>
            <a:miter lim="800000"/>
            <a:headEnd/>
            <a:tailEnd/>
          </a:ln>
          <a:extLst>
            <a:ext uri="{909E8E84-426E-40DD-AFC4-6F175D3DCCD1}">
              <a14:hiddenFill xmlns:a14="http://schemas.microsoft.com/office/drawing/2010/main">
                <a:noFill/>
              </a14:hiddenFill>
            </a:ext>
          </a:extLst>
        </p:spPr>
      </p:cxnSp>
      <p:sp>
        <p:nvSpPr>
          <p:cNvPr id="10" name="圆角矩形标注 20"/>
          <p:cNvSpPr>
            <a:spLocks noChangeArrowheads="1"/>
          </p:cNvSpPr>
          <p:nvPr/>
        </p:nvSpPr>
        <p:spPr bwMode="auto">
          <a:xfrm>
            <a:off x="5810786" y="2051404"/>
            <a:ext cx="2266889" cy="2004600"/>
          </a:xfrm>
          <a:prstGeom prst="wedgeRoundRectCallout">
            <a:avLst>
              <a:gd name="adj1" fmla="val -17782"/>
              <a:gd name="adj2" fmla="val 64523"/>
              <a:gd name="adj3" fmla="val 16667"/>
            </a:avLst>
          </a:prstGeom>
          <a:solidFill>
            <a:srgbClr val="53565A"/>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zh-CN" sz="13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Add your text here and write down your ideas here thank you add your text here and write down your ideas thank you</a:t>
            </a:r>
            <a:endParaRPr kumimoji="0" lang="zh-CN" altLang="en-US" sz="13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endParaRPr>
          </a:p>
        </p:txBody>
      </p:sp>
      <p:sp>
        <p:nvSpPr>
          <p:cNvPr id="12" name="圆角矩形标注 26"/>
          <p:cNvSpPr>
            <a:spLocks noChangeArrowheads="1"/>
          </p:cNvSpPr>
          <p:nvPr/>
        </p:nvSpPr>
        <p:spPr bwMode="auto">
          <a:xfrm>
            <a:off x="9750184" y="1714500"/>
            <a:ext cx="1983346" cy="1626958"/>
          </a:xfrm>
          <a:prstGeom prst="wedgeRoundRectCallout">
            <a:avLst>
              <a:gd name="adj1" fmla="val -19995"/>
              <a:gd name="adj2" fmla="val 65000"/>
              <a:gd name="adj3" fmla="val 16667"/>
            </a:avLst>
          </a:prstGeom>
          <a:solidFill>
            <a:srgbClr val="86BC25"/>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zh-CN" sz="1300" b="0" i="0" u="none" strike="noStrike" kern="1200" cap="none" spc="0" normalizeH="0" baseline="0" noProof="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Add your text here and write down your ideas here thank you add your text here</a:t>
            </a:r>
            <a:endParaRPr kumimoji="0" lang="zh-CN" altLang="en-US" sz="13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endParaRPr>
          </a:p>
        </p:txBody>
      </p:sp>
      <p:sp>
        <p:nvSpPr>
          <p:cNvPr id="14" name="圆角矩形标注 28"/>
          <p:cNvSpPr>
            <a:spLocks noChangeArrowheads="1"/>
          </p:cNvSpPr>
          <p:nvPr/>
        </p:nvSpPr>
        <p:spPr bwMode="auto">
          <a:xfrm>
            <a:off x="492253" y="4651774"/>
            <a:ext cx="1769244" cy="1710926"/>
          </a:xfrm>
          <a:prstGeom prst="wedgeRoundRectCallout">
            <a:avLst>
              <a:gd name="adj1" fmla="val 22775"/>
              <a:gd name="adj2" fmla="val -65840"/>
              <a:gd name="adj3" fmla="val 16667"/>
            </a:avLst>
          </a:prstGeom>
          <a:solidFill>
            <a:srgbClr val="000000"/>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zh-CN" sz="13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Add your text here and write down your ideas here thank you add your text</a:t>
            </a:r>
            <a:endParaRPr kumimoji="0" lang="zh-CN" altLang="en-US" sz="13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endParaRPr>
          </a:p>
        </p:txBody>
      </p:sp>
      <p:sp>
        <p:nvSpPr>
          <p:cNvPr id="15" name="圆角矩形标注 29"/>
          <p:cNvSpPr>
            <a:spLocks noChangeArrowheads="1"/>
          </p:cNvSpPr>
          <p:nvPr/>
        </p:nvSpPr>
        <p:spPr bwMode="auto">
          <a:xfrm>
            <a:off x="2805894" y="3243111"/>
            <a:ext cx="1883528" cy="2140473"/>
          </a:xfrm>
          <a:prstGeom prst="wedgeRoundRectCallout">
            <a:avLst>
              <a:gd name="adj1" fmla="val 17738"/>
              <a:gd name="adj2" fmla="val -59625"/>
              <a:gd name="adj3" fmla="val 16667"/>
            </a:avLst>
          </a:prstGeom>
          <a:solidFill>
            <a:srgbClr val="43B02A"/>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zh-CN" sz="13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Add your text here and write down your ideas here thank you add your text here and write down your ideas</a:t>
            </a:r>
            <a:endParaRPr kumimoji="0" lang="zh-CN" altLang="en-US" sz="13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endParaRPr>
          </a:p>
        </p:txBody>
      </p:sp>
      <p:grpSp>
        <p:nvGrpSpPr>
          <p:cNvPr id="20" name="组合 36"/>
          <p:cNvGrpSpPr>
            <a:grpSpLocks/>
          </p:cNvGrpSpPr>
          <p:nvPr/>
        </p:nvGrpSpPr>
        <p:grpSpPr bwMode="auto">
          <a:xfrm>
            <a:off x="1403638" y="3486083"/>
            <a:ext cx="661116" cy="665282"/>
            <a:chOff x="0" y="0"/>
            <a:chExt cx="495300" cy="498475"/>
          </a:xfrm>
        </p:grpSpPr>
        <p:sp>
          <p:nvSpPr>
            <p:cNvPr id="21" name="Freeform 90"/>
            <p:cNvSpPr>
              <a:spLocks noChangeArrowheads="1"/>
            </p:cNvSpPr>
            <p:nvPr/>
          </p:nvSpPr>
          <p:spPr bwMode="auto">
            <a:xfrm>
              <a:off x="0" y="52387"/>
              <a:ext cx="446088" cy="446088"/>
            </a:xfrm>
            <a:custGeom>
              <a:avLst/>
              <a:gdLst>
                <a:gd name="T0" fmla="*/ 478352172 w 208"/>
                <a:gd name="T1" fmla="*/ 956704345 h 208"/>
                <a:gd name="T2" fmla="*/ 956704345 w 208"/>
                <a:gd name="T3" fmla="*/ 478352172 h 208"/>
                <a:gd name="T4" fmla="*/ 901509534 w 208"/>
                <a:gd name="T5" fmla="*/ 252974789 h 208"/>
                <a:gd name="T6" fmla="*/ 892311113 w 208"/>
                <a:gd name="T7" fmla="*/ 252974789 h 208"/>
                <a:gd name="T8" fmla="*/ 883112693 w 208"/>
                <a:gd name="T9" fmla="*/ 252974789 h 208"/>
                <a:gd name="T10" fmla="*/ 823317599 w 208"/>
                <a:gd name="T11" fmla="*/ 248374507 h 208"/>
                <a:gd name="T12" fmla="*/ 777323353 w 208"/>
                <a:gd name="T13" fmla="*/ 289770615 h 208"/>
                <a:gd name="T14" fmla="*/ 832516019 w 208"/>
                <a:gd name="T15" fmla="*/ 478352172 h 208"/>
                <a:gd name="T16" fmla="*/ 478352172 w 208"/>
                <a:gd name="T17" fmla="*/ 827917881 h 208"/>
                <a:gd name="T18" fmla="*/ 128786463 w 208"/>
                <a:gd name="T19" fmla="*/ 478352172 h 208"/>
                <a:gd name="T20" fmla="*/ 478352172 w 208"/>
                <a:gd name="T21" fmla="*/ 124188326 h 208"/>
                <a:gd name="T22" fmla="*/ 666933730 w 208"/>
                <a:gd name="T23" fmla="*/ 179383137 h 208"/>
                <a:gd name="T24" fmla="*/ 703729556 w 208"/>
                <a:gd name="T25" fmla="*/ 137987028 h 208"/>
                <a:gd name="T26" fmla="*/ 699129273 w 208"/>
                <a:gd name="T27" fmla="*/ 68993514 h 208"/>
                <a:gd name="T28" fmla="*/ 699129273 w 208"/>
                <a:gd name="T29" fmla="*/ 50594529 h 208"/>
                <a:gd name="T30" fmla="*/ 478352172 w 208"/>
                <a:gd name="T31" fmla="*/ 0 h 208"/>
                <a:gd name="T32" fmla="*/ 0 w 208"/>
                <a:gd name="T33" fmla="*/ 478352172 h 208"/>
                <a:gd name="T34" fmla="*/ 478352172 w 208"/>
                <a:gd name="T35" fmla="*/ 956704345 h 20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8"/>
                <a:gd name="T55" fmla="*/ 0 h 208"/>
                <a:gd name="T56" fmla="*/ 208 w 208"/>
                <a:gd name="T57" fmla="*/ 208 h 20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8" h="208">
                  <a:moveTo>
                    <a:pt x="104" y="208"/>
                  </a:moveTo>
                  <a:cubicBezTo>
                    <a:pt x="162" y="208"/>
                    <a:pt x="208" y="161"/>
                    <a:pt x="208" y="104"/>
                  </a:cubicBezTo>
                  <a:cubicBezTo>
                    <a:pt x="208" y="86"/>
                    <a:pt x="204" y="69"/>
                    <a:pt x="196" y="55"/>
                  </a:cubicBezTo>
                  <a:cubicBezTo>
                    <a:pt x="195" y="55"/>
                    <a:pt x="194" y="55"/>
                    <a:pt x="194" y="55"/>
                  </a:cubicBezTo>
                  <a:cubicBezTo>
                    <a:pt x="193" y="55"/>
                    <a:pt x="193" y="55"/>
                    <a:pt x="192" y="55"/>
                  </a:cubicBezTo>
                  <a:cubicBezTo>
                    <a:pt x="179" y="54"/>
                    <a:pt x="179" y="54"/>
                    <a:pt x="179" y="54"/>
                  </a:cubicBezTo>
                  <a:cubicBezTo>
                    <a:pt x="169" y="63"/>
                    <a:pt x="169" y="63"/>
                    <a:pt x="169" y="63"/>
                  </a:cubicBezTo>
                  <a:cubicBezTo>
                    <a:pt x="177" y="75"/>
                    <a:pt x="181" y="89"/>
                    <a:pt x="181" y="104"/>
                  </a:cubicBezTo>
                  <a:cubicBezTo>
                    <a:pt x="181" y="146"/>
                    <a:pt x="147" y="180"/>
                    <a:pt x="104" y="180"/>
                  </a:cubicBezTo>
                  <a:cubicBezTo>
                    <a:pt x="62" y="180"/>
                    <a:pt x="28" y="146"/>
                    <a:pt x="28" y="104"/>
                  </a:cubicBezTo>
                  <a:cubicBezTo>
                    <a:pt x="28" y="61"/>
                    <a:pt x="62" y="27"/>
                    <a:pt x="104" y="27"/>
                  </a:cubicBezTo>
                  <a:cubicBezTo>
                    <a:pt x="119" y="27"/>
                    <a:pt x="133" y="31"/>
                    <a:pt x="145" y="39"/>
                  </a:cubicBezTo>
                  <a:cubicBezTo>
                    <a:pt x="153" y="30"/>
                    <a:pt x="153" y="30"/>
                    <a:pt x="153" y="30"/>
                  </a:cubicBezTo>
                  <a:cubicBezTo>
                    <a:pt x="152" y="15"/>
                    <a:pt x="152" y="15"/>
                    <a:pt x="152" y="15"/>
                  </a:cubicBezTo>
                  <a:cubicBezTo>
                    <a:pt x="152" y="14"/>
                    <a:pt x="152" y="12"/>
                    <a:pt x="152" y="11"/>
                  </a:cubicBezTo>
                  <a:cubicBezTo>
                    <a:pt x="138" y="4"/>
                    <a:pt x="121" y="0"/>
                    <a:pt x="104" y="0"/>
                  </a:cubicBezTo>
                  <a:cubicBezTo>
                    <a:pt x="47" y="0"/>
                    <a:pt x="0" y="46"/>
                    <a:pt x="0" y="104"/>
                  </a:cubicBezTo>
                  <a:cubicBezTo>
                    <a:pt x="0" y="161"/>
                    <a:pt x="47" y="208"/>
                    <a:pt x="104" y="208"/>
                  </a:cubicBez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91"/>
            <p:cNvSpPr>
              <a:spLocks noChangeArrowheads="1"/>
            </p:cNvSpPr>
            <p:nvPr/>
          </p:nvSpPr>
          <p:spPr bwMode="auto">
            <a:xfrm>
              <a:off x="114300" y="163512"/>
              <a:ext cx="217488" cy="220663"/>
            </a:xfrm>
            <a:custGeom>
              <a:avLst/>
              <a:gdLst>
                <a:gd name="T0" fmla="*/ 231867795 w 102"/>
                <a:gd name="T1" fmla="*/ 114742618 h 103"/>
                <a:gd name="T2" fmla="*/ 240959646 w 102"/>
                <a:gd name="T3" fmla="*/ 114742618 h 103"/>
                <a:gd name="T4" fmla="*/ 331888820 w 102"/>
                <a:gd name="T5" fmla="*/ 27537885 h 103"/>
                <a:gd name="T6" fmla="*/ 331888820 w 102"/>
                <a:gd name="T7" fmla="*/ 22948952 h 103"/>
                <a:gd name="T8" fmla="*/ 231867795 w 102"/>
                <a:gd name="T9" fmla="*/ 0 h 103"/>
                <a:gd name="T10" fmla="*/ 0 w 102"/>
                <a:gd name="T11" fmla="*/ 238665245 h 103"/>
                <a:gd name="T12" fmla="*/ 231867795 w 102"/>
                <a:gd name="T13" fmla="*/ 472739413 h 103"/>
                <a:gd name="T14" fmla="*/ 463735590 w 102"/>
                <a:gd name="T15" fmla="*/ 238665245 h 103"/>
                <a:gd name="T16" fmla="*/ 445549755 w 102"/>
                <a:gd name="T17" fmla="*/ 137691570 h 103"/>
                <a:gd name="T18" fmla="*/ 441003829 w 102"/>
                <a:gd name="T19" fmla="*/ 137691570 h 103"/>
                <a:gd name="T20" fmla="*/ 354620581 w 102"/>
                <a:gd name="T21" fmla="*/ 229485235 h 103"/>
                <a:gd name="T22" fmla="*/ 354620581 w 102"/>
                <a:gd name="T23" fmla="*/ 238665245 h 103"/>
                <a:gd name="T24" fmla="*/ 231867795 w 102"/>
                <a:gd name="T25" fmla="*/ 362585729 h 103"/>
                <a:gd name="T26" fmla="*/ 109115009 w 102"/>
                <a:gd name="T27" fmla="*/ 238665245 h 103"/>
                <a:gd name="T28" fmla="*/ 231867795 w 102"/>
                <a:gd name="T29" fmla="*/ 114742618 h 10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2"/>
                <a:gd name="T46" fmla="*/ 0 h 103"/>
                <a:gd name="T47" fmla="*/ 102 w 102"/>
                <a:gd name="T48" fmla="*/ 103 h 10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2" h="103">
                  <a:moveTo>
                    <a:pt x="51" y="25"/>
                  </a:moveTo>
                  <a:cubicBezTo>
                    <a:pt x="52" y="25"/>
                    <a:pt x="53" y="25"/>
                    <a:pt x="53" y="25"/>
                  </a:cubicBezTo>
                  <a:cubicBezTo>
                    <a:pt x="73" y="6"/>
                    <a:pt x="73" y="6"/>
                    <a:pt x="73" y="6"/>
                  </a:cubicBezTo>
                  <a:cubicBezTo>
                    <a:pt x="73" y="5"/>
                    <a:pt x="73" y="5"/>
                    <a:pt x="73" y="5"/>
                  </a:cubicBezTo>
                  <a:cubicBezTo>
                    <a:pt x="66" y="2"/>
                    <a:pt x="59" y="0"/>
                    <a:pt x="51" y="0"/>
                  </a:cubicBezTo>
                  <a:cubicBezTo>
                    <a:pt x="23" y="0"/>
                    <a:pt x="0" y="23"/>
                    <a:pt x="0" y="52"/>
                  </a:cubicBezTo>
                  <a:cubicBezTo>
                    <a:pt x="0" y="80"/>
                    <a:pt x="23" y="103"/>
                    <a:pt x="51" y="103"/>
                  </a:cubicBezTo>
                  <a:cubicBezTo>
                    <a:pt x="80" y="103"/>
                    <a:pt x="102" y="80"/>
                    <a:pt x="102" y="52"/>
                  </a:cubicBezTo>
                  <a:cubicBezTo>
                    <a:pt x="102" y="44"/>
                    <a:pt x="101" y="37"/>
                    <a:pt x="98" y="30"/>
                  </a:cubicBezTo>
                  <a:cubicBezTo>
                    <a:pt x="97" y="30"/>
                    <a:pt x="97" y="30"/>
                    <a:pt x="97" y="30"/>
                  </a:cubicBezTo>
                  <a:cubicBezTo>
                    <a:pt x="78" y="50"/>
                    <a:pt x="78" y="50"/>
                    <a:pt x="78" y="50"/>
                  </a:cubicBezTo>
                  <a:cubicBezTo>
                    <a:pt x="78" y="50"/>
                    <a:pt x="78" y="51"/>
                    <a:pt x="78" y="52"/>
                  </a:cubicBezTo>
                  <a:cubicBezTo>
                    <a:pt x="78" y="67"/>
                    <a:pt x="66" y="79"/>
                    <a:pt x="51" y="79"/>
                  </a:cubicBezTo>
                  <a:cubicBezTo>
                    <a:pt x="36" y="79"/>
                    <a:pt x="24" y="67"/>
                    <a:pt x="24" y="52"/>
                  </a:cubicBezTo>
                  <a:cubicBezTo>
                    <a:pt x="24" y="37"/>
                    <a:pt x="36" y="25"/>
                    <a:pt x="51" y="25"/>
                  </a:cubicBez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Freeform 92"/>
            <p:cNvSpPr>
              <a:spLocks noChangeArrowheads="1"/>
            </p:cNvSpPr>
            <p:nvPr/>
          </p:nvSpPr>
          <p:spPr bwMode="auto">
            <a:xfrm>
              <a:off x="222250" y="0"/>
              <a:ext cx="273050" cy="273050"/>
            </a:xfrm>
            <a:custGeom>
              <a:avLst/>
              <a:gdLst>
                <a:gd name="T0" fmla="*/ 494607500 w 127"/>
                <a:gd name="T1" fmla="*/ 161787500 h 127"/>
                <a:gd name="T2" fmla="*/ 526965000 w 127"/>
                <a:gd name="T3" fmla="*/ 134052500 h 127"/>
                <a:gd name="T4" fmla="*/ 526965000 w 127"/>
                <a:gd name="T5" fmla="*/ 87827500 h 127"/>
                <a:gd name="T6" fmla="*/ 503852500 w 127"/>
                <a:gd name="T7" fmla="*/ 64715000 h 127"/>
                <a:gd name="T8" fmla="*/ 480740000 w 127"/>
                <a:gd name="T9" fmla="*/ 55470000 h 127"/>
                <a:gd name="T10" fmla="*/ 457627500 w 127"/>
                <a:gd name="T11" fmla="*/ 64715000 h 127"/>
                <a:gd name="T12" fmla="*/ 425270000 w 127"/>
                <a:gd name="T13" fmla="*/ 97072500 h 127"/>
                <a:gd name="T14" fmla="*/ 420647500 w 127"/>
                <a:gd name="T15" fmla="*/ 13867500 h 127"/>
                <a:gd name="T16" fmla="*/ 406780000 w 127"/>
                <a:gd name="T17" fmla="*/ 0 h 127"/>
                <a:gd name="T18" fmla="*/ 402157500 w 127"/>
                <a:gd name="T19" fmla="*/ 4622500 h 127"/>
                <a:gd name="T20" fmla="*/ 272727500 w 127"/>
                <a:gd name="T21" fmla="*/ 134052500 h 127"/>
                <a:gd name="T22" fmla="*/ 254237500 w 127"/>
                <a:gd name="T23" fmla="*/ 175655000 h 127"/>
                <a:gd name="T24" fmla="*/ 254237500 w 127"/>
                <a:gd name="T25" fmla="*/ 180277500 h 127"/>
                <a:gd name="T26" fmla="*/ 263482500 w 127"/>
                <a:gd name="T27" fmla="*/ 263482500 h 127"/>
                <a:gd name="T28" fmla="*/ 217257500 w 127"/>
                <a:gd name="T29" fmla="*/ 309707500 h 127"/>
                <a:gd name="T30" fmla="*/ 134052500 w 127"/>
                <a:gd name="T31" fmla="*/ 392912500 h 127"/>
                <a:gd name="T32" fmla="*/ 129430000 w 127"/>
                <a:gd name="T33" fmla="*/ 392912500 h 127"/>
                <a:gd name="T34" fmla="*/ 50847500 w 127"/>
                <a:gd name="T35" fmla="*/ 476117500 h 127"/>
                <a:gd name="T36" fmla="*/ 13867500 w 127"/>
                <a:gd name="T37" fmla="*/ 513097500 h 127"/>
                <a:gd name="T38" fmla="*/ 4622500 w 127"/>
                <a:gd name="T39" fmla="*/ 526965000 h 127"/>
                <a:gd name="T40" fmla="*/ 4622500 w 127"/>
                <a:gd name="T41" fmla="*/ 559322500 h 127"/>
                <a:gd name="T42" fmla="*/ 32357500 w 127"/>
                <a:gd name="T43" fmla="*/ 587057500 h 127"/>
                <a:gd name="T44" fmla="*/ 32357500 w 127"/>
                <a:gd name="T45" fmla="*/ 587057500 h 127"/>
                <a:gd name="T46" fmla="*/ 60092500 w 127"/>
                <a:gd name="T47" fmla="*/ 587057500 h 127"/>
                <a:gd name="T48" fmla="*/ 78582500 w 127"/>
                <a:gd name="T49" fmla="*/ 577812500 h 127"/>
                <a:gd name="T50" fmla="*/ 332820000 w 127"/>
                <a:gd name="T51" fmla="*/ 323575000 h 127"/>
                <a:gd name="T52" fmla="*/ 406780000 w 127"/>
                <a:gd name="T53" fmla="*/ 332820000 h 127"/>
                <a:gd name="T54" fmla="*/ 411402500 w 127"/>
                <a:gd name="T55" fmla="*/ 332820000 h 127"/>
                <a:gd name="T56" fmla="*/ 416025000 w 127"/>
                <a:gd name="T57" fmla="*/ 332820000 h 127"/>
                <a:gd name="T58" fmla="*/ 453005000 w 127"/>
                <a:gd name="T59" fmla="*/ 314330000 h 127"/>
                <a:gd name="T60" fmla="*/ 582435000 w 127"/>
                <a:gd name="T61" fmla="*/ 184900000 h 127"/>
                <a:gd name="T62" fmla="*/ 573190000 w 127"/>
                <a:gd name="T63" fmla="*/ 166410000 h 127"/>
                <a:gd name="T64" fmla="*/ 494607500 w 127"/>
                <a:gd name="T65" fmla="*/ 161787500 h 1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7"/>
                <a:gd name="T100" fmla="*/ 0 h 127"/>
                <a:gd name="T101" fmla="*/ 127 w 127"/>
                <a:gd name="T102" fmla="*/ 127 h 12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7" h="127">
                  <a:moveTo>
                    <a:pt x="107" y="35"/>
                  </a:moveTo>
                  <a:cubicBezTo>
                    <a:pt x="114" y="29"/>
                    <a:pt x="114" y="29"/>
                    <a:pt x="114" y="29"/>
                  </a:cubicBezTo>
                  <a:cubicBezTo>
                    <a:pt x="116" y="26"/>
                    <a:pt x="116" y="21"/>
                    <a:pt x="114" y="19"/>
                  </a:cubicBezTo>
                  <a:cubicBezTo>
                    <a:pt x="109" y="14"/>
                    <a:pt x="109" y="14"/>
                    <a:pt x="109" y="14"/>
                  </a:cubicBezTo>
                  <a:cubicBezTo>
                    <a:pt x="108" y="13"/>
                    <a:pt x="106" y="12"/>
                    <a:pt x="104" y="12"/>
                  </a:cubicBezTo>
                  <a:cubicBezTo>
                    <a:pt x="102" y="12"/>
                    <a:pt x="101" y="13"/>
                    <a:pt x="99" y="14"/>
                  </a:cubicBezTo>
                  <a:cubicBezTo>
                    <a:pt x="92" y="21"/>
                    <a:pt x="92" y="21"/>
                    <a:pt x="92" y="21"/>
                  </a:cubicBezTo>
                  <a:cubicBezTo>
                    <a:pt x="91" y="3"/>
                    <a:pt x="91" y="3"/>
                    <a:pt x="91" y="3"/>
                  </a:cubicBezTo>
                  <a:cubicBezTo>
                    <a:pt x="91" y="1"/>
                    <a:pt x="89" y="0"/>
                    <a:pt x="88" y="0"/>
                  </a:cubicBezTo>
                  <a:cubicBezTo>
                    <a:pt x="88" y="0"/>
                    <a:pt x="87" y="1"/>
                    <a:pt x="87" y="1"/>
                  </a:cubicBezTo>
                  <a:cubicBezTo>
                    <a:pt x="59" y="29"/>
                    <a:pt x="59" y="29"/>
                    <a:pt x="59" y="29"/>
                  </a:cubicBezTo>
                  <a:cubicBezTo>
                    <a:pt x="56" y="31"/>
                    <a:pt x="55" y="35"/>
                    <a:pt x="55" y="38"/>
                  </a:cubicBezTo>
                  <a:cubicBezTo>
                    <a:pt x="55" y="39"/>
                    <a:pt x="55" y="39"/>
                    <a:pt x="55" y="39"/>
                  </a:cubicBezTo>
                  <a:cubicBezTo>
                    <a:pt x="57" y="57"/>
                    <a:pt x="57" y="57"/>
                    <a:pt x="57" y="57"/>
                  </a:cubicBezTo>
                  <a:cubicBezTo>
                    <a:pt x="47" y="67"/>
                    <a:pt x="47" y="67"/>
                    <a:pt x="47" y="67"/>
                  </a:cubicBezTo>
                  <a:cubicBezTo>
                    <a:pt x="29" y="85"/>
                    <a:pt x="29" y="85"/>
                    <a:pt x="29" y="85"/>
                  </a:cubicBezTo>
                  <a:cubicBezTo>
                    <a:pt x="28" y="85"/>
                    <a:pt x="28" y="85"/>
                    <a:pt x="28" y="85"/>
                  </a:cubicBezTo>
                  <a:cubicBezTo>
                    <a:pt x="11" y="103"/>
                    <a:pt x="11" y="103"/>
                    <a:pt x="11" y="103"/>
                  </a:cubicBezTo>
                  <a:cubicBezTo>
                    <a:pt x="3" y="111"/>
                    <a:pt x="3" y="111"/>
                    <a:pt x="3" y="111"/>
                  </a:cubicBezTo>
                  <a:cubicBezTo>
                    <a:pt x="2" y="112"/>
                    <a:pt x="1" y="113"/>
                    <a:pt x="1" y="114"/>
                  </a:cubicBezTo>
                  <a:cubicBezTo>
                    <a:pt x="1" y="121"/>
                    <a:pt x="1" y="121"/>
                    <a:pt x="1" y="121"/>
                  </a:cubicBezTo>
                  <a:cubicBezTo>
                    <a:pt x="0" y="124"/>
                    <a:pt x="3" y="127"/>
                    <a:pt x="7" y="127"/>
                  </a:cubicBezTo>
                  <a:cubicBezTo>
                    <a:pt x="7" y="127"/>
                    <a:pt x="7" y="127"/>
                    <a:pt x="7" y="127"/>
                  </a:cubicBezTo>
                  <a:cubicBezTo>
                    <a:pt x="13" y="127"/>
                    <a:pt x="13" y="127"/>
                    <a:pt x="13" y="127"/>
                  </a:cubicBezTo>
                  <a:cubicBezTo>
                    <a:pt x="15" y="127"/>
                    <a:pt x="16" y="126"/>
                    <a:pt x="17" y="125"/>
                  </a:cubicBezTo>
                  <a:cubicBezTo>
                    <a:pt x="72" y="70"/>
                    <a:pt x="72" y="70"/>
                    <a:pt x="72" y="70"/>
                  </a:cubicBezTo>
                  <a:cubicBezTo>
                    <a:pt x="88" y="72"/>
                    <a:pt x="88" y="72"/>
                    <a:pt x="88" y="72"/>
                  </a:cubicBezTo>
                  <a:cubicBezTo>
                    <a:pt x="89" y="72"/>
                    <a:pt x="89" y="72"/>
                    <a:pt x="89" y="72"/>
                  </a:cubicBezTo>
                  <a:cubicBezTo>
                    <a:pt x="90" y="72"/>
                    <a:pt x="90" y="72"/>
                    <a:pt x="90" y="72"/>
                  </a:cubicBezTo>
                  <a:cubicBezTo>
                    <a:pt x="93" y="72"/>
                    <a:pt x="96" y="70"/>
                    <a:pt x="98" y="68"/>
                  </a:cubicBezTo>
                  <a:cubicBezTo>
                    <a:pt x="126" y="40"/>
                    <a:pt x="126" y="40"/>
                    <a:pt x="126" y="40"/>
                  </a:cubicBezTo>
                  <a:cubicBezTo>
                    <a:pt x="127" y="39"/>
                    <a:pt x="126" y="36"/>
                    <a:pt x="124" y="36"/>
                  </a:cubicBezTo>
                  <a:lnTo>
                    <a:pt x="107" y="35"/>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4" name="组合 40"/>
          <p:cNvGrpSpPr>
            <a:grpSpLocks/>
          </p:cNvGrpSpPr>
          <p:nvPr/>
        </p:nvGrpSpPr>
        <p:grpSpPr bwMode="auto">
          <a:xfrm>
            <a:off x="9962840" y="3847650"/>
            <a:ext cx="724768" cy="723133"/>
            <a:chOff x="0" y="0"/>
            <a:chExt cx="479425" cy="479425"/>
          </a:xfrm>
        </p:grpSpPr>
        <p:sp>
          <p:nvSpPr>
            <p:cNvPr id="25" name="Freeform 101"/>
            <p:cNvSpPr>
              <a:spLocks noEditPoints="1" noChangeArrowheads="1"/>
            </p:cNvSpPr>
            <p:nvPr/>
          </p:nvSpPr>
          <p:spPr bwMode="auto">
            <a:xfrm>
              <a:off x="115887" y="115887"/>
              <a:ext cx="363538" cy="363538"/>
            </a:xfrm>
            <a:custGeom>
              <a:avLst/>
              <a:gdLst>
                <a:gd name="T0" fmla="*/ 690523323 w 170"/>
                <a:gd name="T1" fmla="*/ 310963990 h 170"/>
                <a:gd name="T2" fmla="*/ 653940708 w 170"/>
                <a:gd name="T3" fmla="*/ 260661023 h 170"/>
                <a:gd name="T4" fmla="*/ 685951298 w 170"/>
                <a:gd name="T5" fmla="*/ 201211868 h 170"/>
                <a:gd name="T6" fmla="*/ 640220356 w 170"/>
                <a:gd name="T7" fmla="*/ 91459745 h 170"/>
                <a:gd name="T8" fmla="*/ 571625013 w 170"/>
                <a:gd name="T9" fmla="*/ 91459745 h 170"/>
                <a:gd name="T10" fmla="*/ 530468234 w 170"/>
                <a:gd name="T11" fmla="*/ 128044499 h 170"/>
                <a:gd name="T12" fmla="*/ 484739431 w 170"/>
                <a:gd name="T13" fmla="*/ 109752122 h 170"/>
                <a:gd name="T14" fmla="*/ 466447054 w 170"/>
                <a:gd name="T15" fmla="*/ 45730942 h 170"/>
                <a:gd name="T16" fmla="*/ 356694932 w 170"/>
                <a:gd name="T17" fmla="*/ 0 h 170"/>
                <a:gd name="T18" fmla="*/ 310963990 w 170"/>
                <a:gd name="T19" fmla="*/ 86887720 h 170"/>
                <a:gd name="T20" fmla="*/ 260661023 w 170"/>
                <a:gd name="T21" fmla="*/ 123470336 h 170"/>
                <a:gd name="T22" fmla="*/ 228650433 w 170"/>
                <a:gd name="T23" fmla="*/ 118898311 h 170"/>
                <a:gd name="T24" fmla="*/ 169201277 w 170"/>
                <a:gd name="T25" fmla="*/ 77741532 h 170"/>
                <a:gd name="T26" fmla="*/ 91459745 w 170"/>
                <a:gd name="T27" fmla="*/ 137190687 h 170"/>
                <a:gd name="T28" fmla="*/ 91459745 w 170"/>
                <a:gd name="T29" fmla="*/ 201211868 h 170"/>
                <a:gd name="T30" fmla="*/ 123470336 w 170"/>
                <a:gd name="T31" fmla="*/ 260661023 h 170"/>
                <a:gd name="T32" fmla="*/ 86887720 w 170"/>
                <a:gd name="T33" fmla="*/ 310963990 h 170"/>
                <a:gd name="T34" fmla="*/ 0 w 170"/>
                <a:gd name="T35" fmla="*/ 356694932 h 170"/>
                <a:gd name="T36" fmla="*/ 50302967 w 170"/>
                <a:gd name="T37" fmla="*/ 466447054 h 170"/>
                <a:gd name="T38" fmla="*/ 109752122 w 170"/>
                <a:gd name="T39" fmla="*/ 484739431 h 170"/>
                <a:gd name="T40" fmla="*/ 118898311 w 170"/>
                <a:gd name="T41" fmla="*/ 548760611 h 170"/>
                <a:gd name="T42" fmla="*/ 91459745 w 170"/>
                <a:gd name="T43" fmla="*/ 640220356 h 170"/>
                <a:gd name="T44" fmla="*/ 169201277 w 170"/>
                <a:gd name="T45" fmla="*/ 699669512 h 170"/>
                <a:gd name="T46" fmla="*/ 228650433 w 170"/>
                <a:gd name="T47" fmla="*/ 658512733 h 170"/>
                <a:gd name="T48" fmla="*/ 260661023 w 170"/>
                <a:gd name="T49" fmla="*/ 653940708 h 170"/>
                <a:gd name="T50" fmla="*/ 310963990 w 170"/>
                <a:gd name="T51" fmla="*/ 690523323 h 170"/>
                <a:gd name="T52" fmla="*/ 356694932 w 170"/>
                <a:gd name="T53" fmla="*/ 777411044 h 170"/>
                <a:gd name="T54" fmla="*/ 466447054 w 170"/>
                <a:gd name="T55" fmla="*/ 727108077 h 170"/>
                <a:gd name="T56" fmla="*/ 484739431 w 170"/>
                <a:gd name="T57" fmla="*/ 667658922 h 170"/>
                <a:gd name="T58" fmla="*/ 530468234 w 170"/>
                <a:gd name="T59" fmla="*/ 649366545 h 170"/>
                <a:gd name="T60" fmla="*/ 571625013 w 170"/>
                <a:gd name="T61" fmla="*/ 681377135 h 170"/>
                <a:gd name="T62" fmla="*/ 640220356 w 170"/>
                <a:gd name="T63" fmla="*/ 681377135 h 170"/>
                <a:gd name="T64" fmla="*/ 685951298 w 170"/>
                <a:gd name="T65" fmla="*/ 571625013 h 170"/>
                <a:gd name="T66" fmla="*/ 653940708 w 170"/>
                <a:gd name="T67" fmla="*/ 516750021 h 170"/>
                <a:gd name="T68" fmla="*/ 690523323 w 170"/>
                <a:gd name="T69" fmla="*/ 466447054 h 170"/>
                <a:gd name="T70" fmla="*/ 777411044 w 170"/>
                <a:gd name="T71" fmla="*/ 420716112 h 170"/>
                <a:gd name="T72" fmla="*/ 727108077 w 170"/>
                <a:gd name="T73" fmla="*/ 310963990 h 170"/>
                <a:gd name="T74" fmla="*/ 388705522 w 170"/>
                <a:gd name="T75" fmla="*/ 525896209 h 170"/>
                <a:gd name="T76" fmla="*/ 388705522 w 170"/>
                <a:gd name="T77" fmla="*/ 246942810 h 1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70"/>
                <a:gd name="T118" fmla="*/ 0 h 170"/>
                <a:gd name="T119" fmla="*/ 170 w 170"/>
                <a:gd name="T120" fmla="*/ 170 h 17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70" h="170">
                  <a:moveTo>
                    <a:pt x="159" y="68"/>
                  </a:moveTo>
                  <a:cubicBezTo>
                    <a:pt x="151" y="68"/>
                    <a:pt x="151" y="68"/>
                    <a:pt x="151" y="68"/>
                  </a:cubicBezTo>
                  <a:cubicBezTo>
                    <a:pt x="149" y="68"/>
                    <a:pt x="146" y="66"/>
                    <a:pt x="146" y="64"/>
                  </a:cubicBezTo>
                  <a:cubicBezTo>
                    <a:pt x="145" y="61"/>
                    <a:pt x="144" y="59"/>
                    <a:pt x="143" y="57"/>
                  </a:cubicBezTo>
                  <a:cubicBezTo>
                    <a:pt x="142" y="55"/>
                    <a:pt x="142" y="52"/>
                    <a:pt x="144" y="50"/>
                  </a:cubicBezTo>
                  <a:cubicBezTo>
                    <a:pt x="150" y="44"/>
                    <a:pt x="150" y="44"/>
                    <a:pt x="150" y="44"/>
                  </a:cubicBezTo>
                  <a:cubicBezTo>
                    <a:pt x="154" y="40"/>
                    <a:pt x="154" y="34"/>
                    <a:pt x="150" y="30"/>
                  </a:cubicBezTo>
                  <a:cubicBezTo>
                    <a:pt x="140" y="20"/>
                    <a:pt x="140" y="20"/>
                    <a:pt x="140" y="20"/>
                  </a:cubicBezTo>
                  <a:cubicBezTo>
                    <a:pt x="138" y="18"/>
                    <a:pt x="136" y="17"/>
                    <a:pt x="133" y="17"/>
                  </a:cubicBezTo>
                  <a:cubicBezTo>
                    <a:pt x="130" y="17"/>
                    <a:pt x="127" y="18"/>
                    <a:pt x="125" y="20"/>
                  </a:cubicBezTo>
                  <a:cubicBezTo>
                    <a:pt x="120" y="26"/>
                    <a:pt x="120" y="26"/>
                    <a:pt x="120" y="26"/>
                  </a:cubicBezTo>
                  <a:cubicBezTo>
                    <a:pt x="119" y="27"/>
                    <a:pt x="117" y="28"/>
                    <a:pt x="116" y="28"/>
                  </a:cubicBezTo>
                  <a:cubicBezTo>
                    <a:pt x="115" y="28"/>
                    <a:pt x="114" y="27"/>
                    <a:pt x="113" y="27"/>
                  </a:cubicBezTo>
                  <a:cubicBezTo>
                    <a:pt x="111" y="26"/>
                    <a:pt x="108" y="25"/>
                    <a:pt x="106" y="24"/>
                  </a:cubicBezTo>
                  <a:cubicBezTo>
                    <a:pt x="104" y="23"/>
                    <a:pt x="102" y="21"/>
                    <a:pt x="102" y="19"/>
                  </a:cubicBezTo>
                  <a:cubicBezTo>
                    <a:pt x="102" y="10"/>
                    <a:pt x="102" y="10"/>
                    <a:pt x="102" y="10"/>
                  </a:cubicBezTo>
                  <a:cubicBezTo>
                    <a:pt x="102" y="5"/>
                    <a:pt x="97" y="0"/>
                    <a:pt x="92" y="0"/>
                  </a:cubicBezTo>
                  <a:cubicBezTo>
                    <a:pt x="78" y="0"/>
                    <a:pt x="78" y="0"/>
                    <a:pt x="78" y="0"/>
                  </a:cubicBezTo>
                  <a:cubicBezTo>
                    <a:pt x="73" y="0"/>
                    <a:pt x="68" y="5"/>
                    <a:pt x="68" y="10"/>
                  </a:cubicBezTo>
                  <a:cubicBezTo>
                    <a:pt x="68" y="19"/>
                    <a:pt x="68" y="19"/>
                    <a:pt x="68" y="19"/>
                  </a:cubicBezTo>
                  <a:cubicBezTo>
                    <a:pt x="68" y="21"/>
                    <a:pt x="66" y="23"/>
                    <a:pt x="64" y="24"/>
                  </a:cubicBezTo>
                  <a:cubicBezTo>
                    <a:pt x="61" y="25"/>
                    <a:pt x="59" y="26"/>
                    <a:pt x="57" y="27"/>
                  </a:cubicBezTo>
                  <a:cubicBezTo>
                    <a:pt x="56" y="27"/>
                    <a:pt x="55" y="28"/>
                    <a:pt x="54" y="28"/>
                  </a:cubicBezTo>
                  <a:cubicBezTo>
                    <a:pt x="53" y="28"/>
                    <a:pt x="51" y="27"/>
                    <a:pt x="50" y="26"/>
                  </a:cubicBezTo>
                  <a:cubicBezTo>
                    <a:pt x="44" y="20"/>
                    <a:pt x="44" y="20"/>
                    <a:pt x="44" y="20"/>
                  </a:cubicBezTo>
                  <a:cubicBezTo>
                    <a:pt x="42" y="18"/>
                    <a:pt x="40" y="17"/>
                    <a:pt x="37" y="17"/>
                  </a:cubicBezTo>
                  <a:cubicBezTo>
                    <a:pt x="34" y="17"/>
                    <a:pt x="32" y="18"/>
                    <a:pt x="30" y="20"/>
                  </a:cubicBezTo>
                  <a:cubicBezTo>
                    <a:pt x="20" y="30"/>
                    <a:pt x="20" y="30"/>
                    <a:pt x="20" y="30"/>
                  </a:cubicBezTo>
                  <a:cubicBezTo>
                    <a:pt x="18" y="32"/>
                    <a:pt x="17" y="34"/>
                    <a:pt x="17" y="37"/>
                  </a:cubicBezTo>
                  <a:cubicBezTo>
                    <a:pt x="17" y="40"/>
                    <a:pt x="18" y="42"/>
                    <a:pt x="20" y="44"/>
                  </a:cubicBezTo>
                  <a:cubicBezTo>
                    <a:pt x="26" y="50"/>
                    <a:pt x="26" y="50"/>
                    <a:pt x="26" y="50"/>
                  </a:cubicBezTo>
                  <a:cubicBezTo>
                    <a:pt x="28" y="52"/>
                    <a:pt x="28" y="55"/>
                    <a:pt x="27" y="57"/>
                  </a:cubicBezTo>
                  <a:cubicBezTo>
                    <a:pt x="26" y="59"/>
                    <a:pt x="25" y="61"/>
                    <a:pt x="24" y="64"/>
                  </a:cubicBezTo>
                  <a:cubicBezTo>
                    <a:pt x="23" y="66"/>
                    <a:pt x="21" y="68"/>
                    <a:pt x="19" y="68"/>
                  </a:cubicBezTo>
                  <a:cubicBezTo>
                    <a:pt x="11" y="68"/>
                    <a:pt x="11" y="68"/>
                    <a:pt x="11" y="68"/>
                  </a:cubicBezTo>
                  <a:cubicBezTo>
                    <a:pt x="5" y="68"/>
                    <a:pt x="0" y="73"/>
                    <a:pt x="0" y="78"/>
                  </a:cubicBezTo>
                  <a:cubicBezTo>
                    <a:pt x="0" y="92"/>
                    <a:pt x="0" y="92"/>
                    <a:pt x="0" y="92"/>
                  </a:cubicBezTo>
                  <a:cubicBezTo>
                    <a:pt x="0" y="97"/>
                    <a:pt x="5" y="102"/>
                    <a:pt x="11" y="102"/>
                  </a:cubicBezTo>
                  <a:cubicBezTo>
                    <a:pt x="19" y="102"/>
                    <a:pt x="19" y="102"/>
                    <a:pt x="19" y="102"/>
                  </a:cubicBezTo>
                  <a:cubicBezTo>
                    <a:pt x="21" y="102"/>
                    <a:pt x="23" y="104"/>
                    <a:pt x="24" y="106"/>
                  </a:cubicBezTo>
                  <a:cubicBezTo>
                    <a:pt x="25" y="108"/>
                    <a:pt x="26" y="111"/>
                    <a:pt x="27" y="113"/>
                  </a:cubicBezTo>
                  <a:cubicBezTo>
                    <a:pt x="28" y="115"/>
                    <a:pt x="28" y="118"/>
                    <a:pt x="26" y="120"/>
                  </a:cubicBezTo>
                  <a:cubicBezTo>
                    <a:pt x="20" y="125"/>
                    <a:pt x="20" y="125"/>
                    <a:pt x="20" y="125"/>
                  </a:cubicBezTo>
                  <a:cubicBezTo>
                    <a:pt x="16" y="129"/>
                    <a:pt x="16" y="136"/>
                    <a:pt x="20" y="140"/>
                  </a:cubicBezTo>
                  <a:cubicBezTo>
                    <a:pt x="30" y="149"/>
                    <a:pt x="30" y="149"/>
                    <a:pt x="30" y="149"/>
                  </a:cubicBezTo>
                  <a:cubicBezTo>
                    <a:pt x="32" y="151"/>
                    <a:pt x="34" y="153"/>
                    <a:pt x="37" y="153"/>
                  </a:cubicBezTo>
                  <a:cubicBezTo>
                    <a:pt x="40" y="153"/>
                    <a:pt x="42" y="151"/>
                    <a:pt x="44" y="149"/>
                  </a:cubicBezTo>
                  <a:cubicBezTo>
                    <a:pt x="50" y="144"/>
                    <a:pt x="50" y="144"/>
                    <a:pt x="50" y="144"/>
                  </a:cubicBezTo>
                  <a:cubicBezTo>
                    <a:pt x="51" y="143"/>
                    <a:pt x="53" y="142"/>
                    <a:pt x="54" y="142"/>
                  </a:cubicBezTo>
                  <a:cubicBezTo>
                    <a:pt x="55" y="142"/>
                    <a:pt x="56" y="142"/>
                    <a:pt x="57" y="143"/>
                  </a:cubicBezTo>
                  <a:cubicBezTo>
                    <a:pt x="59" y="144"/>
                    <a:pt x="61" y="145"/>
                    <a:pt x="64" y="146"/>
                  </a:cubicBezTo>
                  <a:cubicBezTo>
                    <a:pt x="66" y="146"/>
                    <a:pt x="68" y="149"/>
                    <a:pt x="68" y="151"/>
                  </a:cubicBezTo>
                  <a:cubicBezTo>
                    <a:pt x="68" y="159"/>
                    <a:pt x="68" y="159"/>
                    <a:pt x="68" y="159"/>
                  </a:cubicBezTo>
                  <a:cubicBezTo>
                    <a:pt x="68" y="165"/>
                    <a:pt x="73" y="170"/>
                    <a:pt x="78" y="170"/>
                  </a:cubicBezTo>
                  <a:cubicBezTo>
                    <a:pt x="92" y="170"/>
                    <a:pt x="92" y="170"/>
                    <a:pt x="92" y="170"/>
                  </a:cubicBezTo>
                  <a:cubicBezTo>
                    <a:pt x="97" y="170"/>
                    <a:pt x="102" y="165"/>
                    <a:pt x="102" y="159"/>
                  </a:cubicBezTo>
                  <a:cubicBezTo>
                    <a:pt x="102" y="151"/>
                    <a:pt x="102" y="151"/>
                    <a:pt x="102" y="151"/>
                  </a:cubicBezTo>
                  <a:cubicBezTo>
                    <a:pt x="102" y="149"/>
                    <a:pt x="104" y="146"/>
                    <a:pt x="106" y="146"/>
                  </a:cubicBezTo>
                  <a:cubicBezTo>
                    <a:pt x="108" y="145"/>
                    <a:pt x="111" y="144"/>
                    <a:pt x="113" y="143"/>
                  </a:cubicBezTo>
                  <a:cubicBezTo>
                    <a:pt x="114" y="142"/>
                    <a:pt x="115" y="142"/>
                    <a:pt x="116" y="142"/>
                  </a:cubicBezTo>
                  <a:cubicBezTo>
                    <a:pt x="117" y="142"/>
                    <a:pt x="119" y="143"/>
                    <a:pt x="120" y="144"/>
                  </a:cubicBezTo>
                  <a:cubicBezTo>
                    <a:pt x="125" y="149"/>
                    <a:pt x="125" y="149"/>
                    <a:pt x="125" y="149"/>
                  </a:cubicBezTo>
                  <a:cubicBezTo>
                    <a:pt x="127" y="151"/>
                    <a:pt x="130" y="153"/>
                    <a:pt x="133" y="153"/>
                  </a:cubicBezTo>
                  <a:cubicBezTo>
                    <a:pt x="136" y="153"/>
                    <a:pt x="138" y="151"/>
                    <a:pt x="140" y="149"/>
                  </a:cubicBezTo>
                  <a:cubicBezTo>
                    <a:pt x="150" y="140"/>
                    <a:pt x="150" y="140"/>
                    <a:pt x="150" y="140"/>
                  </a:cubicBezTo>
                  <a:cubicBezTo>
                    <a:pt x="154" y="136"/>
                    <a:pt x="154" y="129"/>
                    <a:pt x="150" y="125"/>
                  </a:cubicBezTo>
                  <a:cubicBezTo>
                    <a:pt x="144" y="120"/>
                    <a:pt x="144" y="120"/>
                    <a:pt x="144" y="120"/>
                  </a:cubicBezTo>
                  <a:cubicBezTo>
                    <a:pt x="142" y="118"/>
                    <a:pt x="142" y="115"/>
                    <a:pt x="143" y="113"/>
                  </a:cubicBezTo>
                  <a:cubicBezTo>
                    <a:pt x="144" y="111"/>
                    <a:pt x="145" y="108"/>
                    <a:pt x="146" y="106"/>
                  </a:cubicBezTo>
                  <a:cubicBezTo>
                    <a:pt x="146" y="104"/>
                    <a:pt x="149" y="102"/>
                    <a:pt x="151" y="102"/>
                  </a:cubicBezTo>
                  <a:cubicBezTo>
                    <a:pt x="159" y="102"/>
                    <a:pt x="159" y="102"/>
                    <a:pt x="159" y="102"/>
                  </a:cubicBezTo>
                  <a:cubicBezTo>
                    <a:pt x="165" y="102"/>
                    <a:pt x="170" y="97"/>
                    <a:pt x="170" y="92"/>
                  </a:cubicBezTo>
                  <a:cubicBezTo>
                    <a:pt x="170" y="78"/>
                    <a:pt x="170" y="78"/>
                    <a:pt x="170" y="78"/>
                  </a:cubicBezTo>
                  <a:cubicBezTo>
                    <a:pt x="170" y="73"/>
                    <a:pt x="165" y="68"/>
                    <a:pt x="159" y="68"/>
                  </a:cubicBezTo>
                  <a:moveTo>
                    <a:pt x="115" y="85"/>
                  </a:moveTo>
                  <a:cubicBezTo>
                    <a:pt x="115" y="102"/>
                    <a:pt x="102" y="115"/>
                    <a:pt x="85" y="115"/>
                  </a:cubicBezTo>
                  <a:cubicBezTo>
                    <a:pt x="68" y="115"/>
                    <a:pt x="55" y="102"/>
                    <a:pt x="55" y="85"/>
                  </a:cubicBezTo>
                  <a:cubicBezTo>
                    <a:pt x="55" y="68"/>
                    <a:pt x="68" y="54"/>
                    <a:pt x="85" y="54"/>
                  </a:cubicBezTo>
                  <a:cubicBezTo>
                    <a:pt x="102" y="54"/>
                    <a:pt x="115" y="68"/>
                    <a:pt x="115" y="85"/>
                  </a:cubicBezTo>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Freeform 102"/>
            <p:cNvSpPr>
              <a:spLocks noEditPoints="1" noChangeArrowheads="1"/>
            </p:cNvSpPr>
            <p:nvPr/>
          </p:nvSpPr>
          <p:spPr bwMode="auto">
            <a:xfrm>
              <a:off x="0" y="0"/>
              <a:ext cx="188913" cy="187325"/>
            </a:xfrm>
            <a:custGeom>
              <a:avLst/>
              <a:gdLst>
                <a:gd name="T0" fmla="*/ 354853750 w 88"/>
                <a:gd name="T1" fmla="*/ 244691153 h 88"/>
                <a:gd name="T2" fmla="*/ 405546836 w 88"/>
                <a:gd name="T3" fmla="*/ 212973624 h 88"/>
                <a:gd name="T4" fmla="*/ 373287795 w 88"/>
                <a:gd name="T5" fmla="*/ 154066298 h 88"/>
                <a:gd name="T6" fmla="*/ 350244702 w 88"/>
                <a:gd name="T7" fmla="*/ 149534310 h 88"/>
                <a:gd name="T8" fmla="*/ 345635654 w 88"/>
                <a:gd name="T9" fmla="*/ 126876500 h 88"/>
                <a:gd name="T10" fmla="*/ 359462798 w 88"/>
                <a:gd name="T11" fmla="*/ 67969173 h 88"/>
                <a:gd name="T12" fmla="*/ 313376613 w 88"/>
                <a:gd name="T13" fmla="*/ 36251645 h 88"/>
                <a:gd name="T14" fmla="*/ 276508523 w 88"/>
                <a:gd name="T15" fmla="*/ 58907326 h 88"/>
                <a:gd name="T16" fmla="*/ 271901622 w 88"/>
                <a:gd name="T17" fmla="*/ 58907326 h 88"/>
                <a:gd name="T18" fmla="*/ 248858530 w 88"/>
                <a:gd name="T19" fmla="*/ 49845480 h 88"/>
                <a:gd name="T20" fmla="*/ 216599488 w 88"/>
                <a:gd name="T21" fmla="*/ 0 h 88"/>
                <a:gd name="T22" fmla="*/ 156688306 w 88"/>
                <a:gd name="T23" fmla="*/ 31719657 h 88"/>
                <a:gd name="T24" fmla="*/ 152079258 w 88"/>
                <a:gd name="T25" fmla="*/ 54375339 h 88"/>
                <a:gd name="T26" fmla="*/ 133645214 w 88"/>
                <a:gd name="T27" fmla="*/ 63439314 h 88"/>
                <a:gd name="T28" fmla="*/ 115211169 w 88"/>
                <a:gd name="T29" fmla="*/ 49845480 h 88"/>
                <a:gd name="T30" fmla="*/ 69127131 w 88"/>
                <a:gd name="T31" fmla="*/ 49845480 h 88"/>
                <a:gd name="T32" fmla="*/ 50693086 w 88"/>
                <a:gd name="T33" fmla="*/ 113282665 h 88"/>
                <a:gd name="T34" fmla="*/ 64518083 w 88"/>
                <a:gd name="T35" fmla="*/ 131408488 h 88"/>
                <a:gd name="T36" fmla="*/ 50693086 w 88"/>
                <a:gd name="T37" fmla="*/ 154066298 h 88"/>
                <a:gd name="T38" fmla="*/ 0 w 88"/>
                <a:gd name="T39" fmla="*/ 185783826 h 88"/>
                <a:gd name="T40" fmla="*/ 32259041 w 88"/>
                <a:gd name="T41" fmla="*/ 244691153 h 88"/>
                <a:gd name="T42" fmla="*/ 55302134 w 88"/>
                <a:gd name="T43" fmla="*/ 249223140 h 88"/>
                <a:gd name="T44" fmla="*/ 59911182 w 88"/>
                <a:gd name="T45" fmla="*/ 271880951 h 88"/>
                <a:gd name="T46" fmla="*/ 41477137 w 88"/>
                <a:gd name="T47" fmla="*/ 308130467 h 88"/>
                <a:gd name="T48" fmla="*/ 69127131 w 88"/>
                <a:gd name="T49" fmla="*/ 353443959 h 88"/>
                <a:gd name="T50" fmla="*/ 115211169 w 88"/>
                <a:gd name="T51" fmla="*/ 353443959 h 88"/>
                <a:gd name="T52" fmla="*/ 133645214 w 88"/>
                <a:gd name="T53" fmla="*/ 335318136 h 88"/>
                <a:gd name="T54" fmla="*/ 152079258 w 88"/>
                <a:gd name="T55" fmla="*/ 344382112 h 88"/>
                <a:gd name="T56" fmla="*/ 156688306 w 88"/>
                <a:gd name="T57" fmla="*/ 367037793 h 88"/>
                <a:gd name="T58" fmla="*/ 216599488 w 88"/>
                <a:gd name="T59" fmla="*/ 398757450 h 88"/>
                <a:gd name="T60" fmla="*/ 248858530 w 88"/>
                <a:gd name="T61" fmla="*/ 348911971 h 88"/>
                <a:gd name="T62" fmla="*/ 271901622 w 88"/>
                <a:gd name="T63" fmla="*/ 339850124 h 88"/>
                <a:gd name="T64" fmla="*/ 276508523 w 88"/>
                <a:gd name="T65" fmla="*/ 339850124 h 88"/>
                <a:gd name="T66" fmla="*/ 313376613 w 88"/>
                <a:gd name="T67" fmla="*/ 362505805 h 88"/>
                <a:gd name="T68" fmla="*/ 359462798 w 88"/>
                <a:gd name="T69" fmla="*/ 330788277 h 88"/>
                <a:gd name="T70" fmla="*/ 345635654 w 88"/>
                <a:gd name="T71" fmla="*/ 271880951 h 88"/>
                <a:gd name="T72" fmla="*/ 350244702 w 88"/>
                <a:gd name="T73" fmla="*/ 249223140 h 88"/>
                <a:gd name="T74" fmla="*/ 202774491 w 88"/>
                <a:gd name="T75" fmla="*/ 262816975 h 88"/>
                <a:gd name="T76" fmla="*/ 202774491 w 88"/>
                <a:gd name="T77" fmla="*/ 140470334 h 8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8"/>
                <a:gd name="T118" fmla="*/ 0 h 88"/>
                <a:gd name="T119" fmla="*/ 88 w 88"/>
                <a:gd name="T120" fmla="*/ 88 h 8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8" h="88">
                  <a:moveTo>
                    <a:pt x="76" y="55"/>
                  </a:moveTo>
                  <a:cubicBezTo>
                    <a:pt x="76" y="55"/>
                    <a:pt x="77" y="54"/>
                    <a:pt x="77" y="54"/>
                  </a:cubicBezTo>
                  <a:cubicBezTo>
                    <a:pt x="81" y="54"/>
                    <a:pt x="81" y="54"/>
                    <a:pt x="81" y="54"/>
                  </a:cubicBezTo>
                  <a:cubicBezTo>
                    <a:pt x="85" y="54"/>
                    <a:pt x="88" y="51"/>
                    <a:pt x="88" y="47"/>
                  </a:cubicBezTo>
                  <a:cubicBezTo>
                    <a:pt x="88" y="41"/>
                    <a:pt x="88" y="41"/>
                    <a:pt x="88" y="41"/>
                  </a:cubicBezTo>
                  <a:cubicBezTo>
                    <a:pt x="88" y="37"/>
                    <a:pt x="85" y="34"/>
                    <a:pt x="81" y="34"/>
                  </a:cubicBezTo>
                  <a:cubicBezTo>
                    <a:pt x="77" y="34"/>
                    <a:pt x="77" y="34"/>
                    <a:pt x="77" y="34"/>
                  </a:cubicBezTo>
                  <a:cubicBezTo>
                    <a:pt x="77" y="34"/>
                    <a:pt x="76" y="33"/>
                    <a:pt x="76" y="33"/>
                  </a:cubicBezTo>
                  <a:cubicBezTo>
                    <a:pt x="76" y="32"/>
                    <a:pt x="75" y="30"/>
                    <a:pt x="75" y="29"/>
                  </a:cubicBezTo>
                  <a:cubicBezTo>
                    <a:pt x="74" y="29"/>
                    <a:pt x="75" y="28"/>
                    <a:pt x="75" y="28"/>
                  </a:cubicBezTo>
                  <a:cubicBezTo>
                    <a:pt x="78" y="25"/>
                    <a:pt x="78" y="25"/>
                    <a:pt x="78" y="25"/>
                  </a:cubicBezTo>
                  <a:cubicBezTo>
                    <a:pt x="80" y="22"/>
                    <a:pt x="80" y="18"/>
                    <a:pt x="78" y="15"/>
                  </a:cubicBezTo>
                  <a:cubicBezTo>
                    <a:pt x="73" y="11"/>
                    <a:pt x="73" y="11"/>
                    <a:pt x="73" y="11"/>
                  </a:cubicBezTo>
                  <a:cubicBezTo>
                    <a:pt x="72" y="9"/>
                    <a:pt x="70" y="8"/>
                    <a:pt x="68" y="8"/>
                  </a:cubicBezTo>
                  <a:cubicBezTo>
                    <a:pt x="66" y="8"/>
                    <a:pt x="64" y="9"/>
                    <a:pt x="63" y="11"/>
                  </a:cubicBezTo>
                  <a:cubicBezTo>
                    <a:pt x="60" y="13"/>
                    <a:pt x="60" y="13"/>
                    <a:pt x="60" y="13"/>
                  </a:cubicBezTo>
                  <a:cubicBezTo>
                    <a:pt x="60" y="13"/>
                    <a:pt x="60" y="14"/>
                    <a:pt x="59" y="14"/>
                  </a:cubicBezTo>
                  <a:cubicBezTo>
                    <a:pt x="59" y="13"/>
                    <a:pt x="59" y="13"/>
                    <a:pt x="59" y="13"/>
                  </a:cubicBezTo>
                  <a:cubicBezTo>
                    <a:pt x="58" y="13"/>
                    <a:pt x="56" y="12"/>
                    <a:pt x="55" y="12"/>
                  </a:cubicBezTo>
                  <a:cubicBezTo>
                    <a:pt x="55" y="12"/>
                    <a:pt x="54" y="11"/>
                    <a:pt x="54" y="11"/>
                  </a:cubicBezTo>
                  <a:cubicBezTo>
                    <a:pt x="54" y="7"/>
                    <a:pt x="54" y="7"/>
                    <a:pt x="54" y="7"/>
                  </a:cubicBezTo>
                  <a:cubicBezTo>
                    <a:pt x="54" y="3"/>
                    <a:pt x="51" y="0"/>
                    <a:pt x="47" y="0"/>
                  </a:cubicBezTo>
                  <a:cubicBezTo>
                    <a:pt x="41" y="0"/>
                    <a:pt x="41" y="0"/>
                    <a:pt x="41" y="0"/>
                  </a:cubicBezTo>
                  <a:cubicBezTo>
                    <a:pt x="37" y="0"/>
                    <a:pt x="34" y="3"/>
                    <a:pt x="34" y="7"/>
                  </a:cubicBezTo>
                  <a:cubicBezTo>
                    <a:pt x="34" y="11"/>
                    <a:pt x="34" y="11"/>
                    <a:pt x="34" y="11"/>
                  </a:cubicBezTo>
                  <a:cubicBezTo>
                    <a:pt x="34" y="11"/>
                    <a:pt x="33" y="12"/>
                    <a:pt x="33" y="12"/>
                  </a:cubicBezTo>
                  <a:cubicBezTo>
                    <a:pt x="32" y="12"/>
                    <a:pt x="31" y="13"/>
                    <a:pt x="29" y="13"/>
                  </a:cubicBezTo>
                  <a:cubicBezTo>
                    <a:pt x="29" y="14"/>
                    <a:pt x="29" y="14"/>
                    <a:pt x="29" y="14"/>
                  </a:cubicBezTo>
                  <a:cubicBezTo>
                    <a:pt x="28" y="14"/>
                    <a:pt x="28" y="13"/>
                    <a:pt x="28" y="13"/>
                  </a:cubicBezTo>
                  <a:cubicBezTo>
                    <a:pt x="25" y="11"/>
                    <a:pt x="25" y="11"/>
                    <a:pt x="25" y="11"/>
                  </a:cubicBezTo>
                  <a:cubicBezTo>
                    <a:pt x="24" y="9"/>
                    <a:pt x="22" y="8"/>
                    <a:pt x="20" y="8"/>
                  </a:cubicBezTo>
                  <a:cubicBezTo>
                    <a:pt x="18" y="8"/>
                    <a:pt x="17" y="9"/>
                    <a:pt x="15" y="11"/>
                  </a:cubicBezTo>
                  <a:cubicBezTo>
                    <a:pt x="11" y="15"/>
                    <a:pt x="11" y="15"/>
                    <a:pt x="11" y="15"/>
                  </a:cubicBezTo>
                  <a:cubicBezTo>
                    <a:pt x="8" y="18"/>
                    <a:pt x="8" y="22"/>
                    <a:pt x="11" y="25"/>
                  </a:cubicBezTo>
                  <a:cubicBezTo>
                    <a:pt x="13" y="28"/>
                    <a:pt x="13" y="28"/>
                    <a:pt x="13" y="28"/>
                  </a:cubicBezTo>
                  <a:cubicBezTo>
                    <a:pt x="14" y="28"/>
                    <a:pt x="14" y="29"/>
                    <a:pt x="14" y="29"/>
                  </a:cubicBezTo>
                  <a:cubicBezTo>
                    <a:pt x="13" y="30"/>
                    <a:pt x="13" y="32"/>
                    <a:pt x="12" y="33"/>
                  </a:cubicBezTo>
                  <a:cubicBezTo>
                    <a:pt x="12" y="33"/>
                    <a:pt x="11" y="34"/>
                    <a:pt x="11" y="34"/>
                  </a:cubicBezTo>
                  <a:cubicBezTo>
                    <a:pt x="7" y="34"/>
                    <a:pt x="7" y="34"/>
                    <a:pt x="7" y="34"/>
                  </a:cubicBezTo>
                  <a:cubicBezTo>
                    <a:pt x="3" y="34"/>
                    <a:pt x="0" y="37"/>
                    <a:pt x="0" y="41"/>
                  </a:cubicBezTo>
                  <a:cubicBezTo>
                    <a:pt x="0" y="47"/>
                    <a:pt x="0" y="47"/>
                    <a:pt x="0" y="47"/>
                  </a:cubicBezTo>
                  <a:cubicBezTo>
                    <a:pt x="0" y="51"/>
                    <a:pt x="3" y="54"/>
                    <a:pt x="7" y="54"/>
                  </a:cubicBezTo>
                  <a:cubicBezTo>
                    <a:pt x="11" y="54"/>
                    <a:pt x="11" y="54"/>
                    <a:pt x="11" y="54"/>
                  </a:cubicBezTo>
                  <a:cubicBezTo>
                    <a:pt x="11" y="54"/>
                    <a:pt x="12" y="55"/>
                    <a:pt x="12" y="55"/>
                  </a:cubicBezTo>
                  <a:cubicBezTo>
                    <a:pt x="13" y="56"/>
                    <a:pt x="13" y="58"/>
                    <a:pt x="14" y="59"/>
                  </a:cubicBezTo>
                  <a:cubicBezTo>
                    <a:pt x="14" y="59"/>
                    <a:pt x="14" y="60"/>
                    <a:pt x="13" y="60"/>
                  </a:cubicBezTo>
                  <a:cubicBezTo>
                    <a:pt x="11" y="63"/>
                    <a:pt x="11" y="63"/>
                    <a:pt x="11" y="63"/>
                  </a:cubicBezTo>
                  <a:cubicBezTo>
                    <a:pt x="9" y="64"/>
                    <a:pt x="9" y="66"/>
                    <a:pt x="9" y="68"/>
                  </a:cubicBezTo>
                  <a:cubicBezTo>
                    <a:pt x="9" y="70"/>
                    <a:pt x="9" y="72"/>
                    <a:pt x="11" y="73"/>
                  </a:cubicBezTo>
                  <a:cubicBezTo>
                    <a:pt x="15" y="78"/>
                    <a:pt x="15" y="78"/>
                    <a:pt x="15" y="78"/>
                  </a:cubicBezTo>
                  <a:cubicBezTo>
                    <a:pt x="17" y="79"/>
                    <a:pt x="18" y="80"/>
                    <a:pt x="20" y="80"/>
                  </a:cubicBezTo>
                  <a:cubicBezTo>
                    <a:pt x="22" y="80"/>
                    <a:pt x="24" y="79"/>
                    <a:pt x="25" y="78"/>
                  </a:cubicBezTo>
                  <a:cubicBezTo>
                    <a:pt x="28" y="75"/>
                    <a:pt x="28" y="75"/>
                    <a:pt x="28" y="75"/>
                  </a:cubicBezTo>
                  <a:cubicBezTo>
                    <a:pt x="28" y="75"/>
                    <a:pt x="28" y="74"/>
                    <a:pt x="29" y="74"/>
                  </a:cubicBezTo>
                  <a:cubicBezTo>
                    <a:pt x="29" y="75"/>
                    <a:pt x="29" y="75"/>
                    <a:pt x="29" y="75"/>
                  </a:cubicBezTo>
                  <a:cubicBezTo>
                    <a:pt x="31" y="75"/>
                    <a:pt x="32" y="76"/>
                    <a:pt x="33" y="76"/>
                  </a:cubicBezTo>
                  <a:cubicBezTo>
                    <a:pt x="33" y="76"/>
                    <a:pt x="34" y="77"/>
                    <a:pt x="34" y="77"/>
                  </a:cubicBezTo>
                  <a:cubicBezTo>
                    <a:pt x="34" y="81"/>
                    <a:pt x="34" y="81"/>
                    <a:pt x="34" y="81"/>
                  </a:cubicBezTo>
                  <a:cubicBezTo>
                    <a:pt x="34" y="85"/>
                    <a:pt x="37" y="88"/>
                    <a:pt x="41" y="88"/>
                  </a:cubicBezTo>
                  <a:cubicBezTo>
                    <a:pt x="47" y="88"/>
                    <a:pt x="47" y="88"/>
                    <a:pt x="47" y="88"/>
                  </a:cubicBezTo>
                  <a:cubicBezTo>
                    <a:pt x="51" y="88"/>
                    <a:pt x="54" y="85"/>
                    <a:pt x="54" y="81"/>
                  </a:cubicBezTo>
                  <a:cubicBezTo>
                    <a:pt x="54" y="77"/>
                    <a:pt x="54" y="77"/>
                    <a:pt x="54" y="77"/>
                  </a:cubicBezTo>
                  <a:cubicBezTo>
                    <a:pt x="54" y="77"/>
                    <a:pt x="55" y="76"/>
                    <a:pt x="55" y="76"/>
                  </a:cubicBezTo>
                  <a:cubicBezTo>
                    <a:pt x="56" y="76"/>
                    <a:pt x="58" y="75"/>
                    <a:pt x="59" y="75"/>
                  </a:cubicBezTo>
                  <a:cubicBezTo>
                    <a:pt x="59" y="74"/>
                    <a:pt x="59" y="74"/>
                    <a:pt x="59" y="74"/>
                  </a:cubicBezTo>
                  <a:cubicBezTo>
                    <a:pt x="60" y="74"/>
                    <a:pt x="60" y="75"/>
                    <a:pt x="60" y="75"/>
                  </a:cubicBezTo>
                  <a:cubicBezTo>
                    <a:pt x="63" y="78"/>
                    <a:pt x="63" y="78"/>
                    <a:pt x="63" y="78"/>
                  </a:cubicBezTo>
                  <a:cubicBezTo>
                    <a:pt x="64" y="79"/>
                    <a:pt x="66" y="80"/>
                    <a:pt x="68" y="80"/>
                  </a:cubicBezTo>
                  <a:cubicBezTo>
                    <a:pt x="70" y="80"/>
                    <a:pt x="72" y="79"/>
                    <a:pt x="73" y="78"/>
                  </a:cubicBezTo>
                  <a:cubicBezTo>
                    <a:pt x="78" y="73"/>
                    <a:pt x="78" y="73"/>
                    <a:pt x="78" y="73"/>
                  </a:cubicBezTo>
                  <a:cubicBezTo>
                    <a:pt x="80" y="70"/>
                    <a:pt x="80" y="66"/>
                    <a:pt x="78" y="63"/>
                  </a:cubicBezTo>
                  <a:cubicBezTo>
                    <a:pt x="75" y="60"/>
                    <a:pt x="75" y="60"/>
                    <a:pt x="75" y="60"/>
                  </a:cubicBezTo>
                  <a:cubicBezTo>
                    <a:pt x="75" y="60"/>
                    <a:pt x="74" y="59"/>
                    <a:pt x="75" y="59"/>
                  </a:cubicBezTo>
                  <a:cubicBezTo>
                    <a:pt x="75" y="58"/>
                    <a:pt x="76" y="56"/>
                    <a:pt x="76" y="55"/>
                  </a:cubicBezTo>
                  <a:close/>
                  <a:moveTo>
                    <a:pt x="58" y="44"/>
                  </a:moveTo>
                  <a:cubicBezTo>
                    <a:pt x="58" y="51"/>
                    <a:pt x="52" y="58"/>
                    <a:pt x="44" y="58"/>
                  </a:cubicBezTo>
                  <a:cubicBezTo>
                    <a:pt x="37" y="58"/>
                    <a:pt x="31" y="51"/>
                    <a:pt x="31" y="44"/>
                  </a:cubicBezTo>
                  <a:cubicBezTo>
                    <a:pt x="31" y="37"/>
                    <a:pt x="37" y="31"/>
                    <a:pt x="44" y="31"/>
                  </a:cubicBezTo>
                  <a:cubicBezTo>
                    <a:pt x="52" y="31"/>
                    <a:pt x="58" y="37"/>
                    <a:pt x="58" y="44"/>
                  </a:cubicBez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mn-ea"/>
                <a:cs typeface="+mn-cs"/>
              </a:endParaRPr>
            </a:p>
          </p:txBody>
        </p:sp>
      </p:grpSp>
      <p:cxnSp>
        <p:nvCxnSpPr>
          <p:cNvPr id="50" name="直接连接符 11"/>
          <p:cNvCxnSpPr>
            <a:cxnSpLocks noChangeShapeType="1"/>
          </p:cNvCxnSpPr>
          <p:nvPr/>
        </p:nvCxnSpPr>
        <p:spPr bwMode="auto">
          <a:xfrm flipV="1">
            <a:off x="2106706" y="2736918"/>
            <a:ext cx="1406136" cy="780983"/>
          </a:xfrm>
          <a:prstGeom prst="line">
            <a:avLst/>
          </a:prstGeom>
          <a:noFill/>
          <a:ln w="38100">
            <a:solidFill>
              <a:schemeClr val="tx2"/>
            </a:solidFill>
            <a:miter lim="800000"/>
            <a:headEnd/>
            <a:tailEnd/>
          </a:ln>
          <a:extLst>
            <a:ext uri="{909E8E84-426E-40DD-AFC4-6F175D3DCCD1}">
              <a14:hiddenFill xmlns:a14="http://schemas.microsoft.com/office/drawing/2010/main">
                <a:noFill/>
              </a14:hiddenFill>
            </a:ext>
          </a:extLst>
        </p:spPr>
      </p:cxnSp>
      <p:sp>
        <p:nvSpPr>
          <p:cNvPr id="27" name="Freeform 654">
            <a:extLst>
              <a:ext uri="{FF2B5EF4-FFF2-40B4-BE49-F238E27FC236}">
                <a16:creationId xmlns:a16="http://schemas.microsoft.com/office/drawing/2014/main" id="{17D12F72-866A-4395-B2CE-EEEAB26CE3CD}"/>
              </a:ext>
            </a:extLst>
          </p:cNvPr>
          <p:cNvSpPr>
            <a:spLocks noChangeAspect="1" noEditPoints="1"/>
          </p:cNvSpPr>
          <p:nvPr/>
        </p:nvSpPr>
        <p:spPr bwMode="auto">
          <a:xfrm>
            <a:off x="1316478" y="3299028"/>
            <a:ext cx="967081" cy="967081"/>
          </a:xfrm>
          <a:custGeom>
            <a:avLst/>
            <a:gdLst>
              <a:gd name="T0" fmla="*/ 192 w 512"/>
              <a:gd name="T1" fmla="*/ 353 h 512"/>
              <a:gd name="T2" fmla="*/ 197 w 512"/>
              <a:gd name="T3" fmla="*/ 384 h 512"/>
              <a:gd name="T4" fmla="*/ 161 w 512"/>
              <a:gd name="T5" fmla="*/ 390 h 512"/>
              <a:gd name="T6" fmla="*/ 156 w 512"/>
              <a:gd name="T7" fmla="*/ 360 h 512"/>
              <a:gd name="T8" fmla="*/ 192 w 512"/>
              <a:gd name="T9" fmla="*/ 353 h 512"/>
              <a:gd name="T10" fmla="*/ 256 w 512"/>
              <a:gd name="T11" fmla="*/ 117 h 512"/>
              <a:gd name="T12" fmla="*/ 135 w 512"/>
              <a:gd name="T13" fmla="*/ 237 h 512"/>
              <a:gd name="T14" fmla="*/ 136 w 512"/>
              <a:gd name="T15" fmla="*/ 245 h 512"/>
              <a:gd name="T16" fmla="*/ 136 w 512"/>
              <a:gd name="T17" fmla="*/ 246 h 512"/>
              <a:gd name="T18" fmla="*/ 152 w 512"/>
              <a:gd name="T19" fmla="*/ 339 h 512"/>
              <a:gd name="T20" fmla="*/ 188 w 512"/>
              <a:gd name="T21" fmla="*/ 332 h 512"/>
              <a:gd name="T22" fmla="*/ 174 w 512"/>
              <a:gd name="T23" fmla="*/ 251 h 512"/>
              <a:gd name="T24" fmla="*/ 172 w 512"/>
              <a:gd name="T25" fmla="*/ 237 h 512"/>
              <a:gd name="T26" fmla="*/ 256 w 512"/>
              <a:gd name="T27" fmla="*/ 154 h 512"/>
              <a:gd name="T28" fmla="*/ 339 w 512"/>
              <a:gd name="T29" fmla="*/ 237 h 512"/>
              <a:gd name="T30" fmla="*/ 338 w 512"/>
              <a:gd name="T31" fmla="*/ 250 h 512"/>
              <a:gd name="T32" fmla="*/ 323 w 512"/>
              <a:gd name="T33" fmla="*/ 332 h 512"/>
              <a:gd name="T34" fmla="*/ 359 w 512"/>
              <a:gd name="T35" fmla="*/ 339 h 512"/>
              <a:gd name="T36" fmla="*/ 375 w 512"/>
              <a:gd name="T37" fmla="*/ 245 h 512"/>
              <a:gd name="T38" fmla="*/ 375 w 512"/>
              <a:gd name="T39" fmla="*/ 245 h 512"/>
              <a:gd name="T40" fmla="*/ 376 w 512"/>
              <a:gd name="T41" fmla="*/ 237 h 512"/>
              <a:gd name="T42" fmla="*/ 256 w 512"/>
              <a:gd name="T43" fmla="*/ 117 h 512"/>
              <a:gd name="T44" fmla="*/ 314 w 512"/>
              <a:gd name="T45" fmla="*/ 384 h 512"/>
              <a:gd name="T46" fmla="*/ 351 w 512"/>
              <a:gd name="T47" fmla="*/ 390 h 512"/>
              <a:gd name="T48" fmla="*/ 356 w 512"/>
              <a:gd name="T49" fmla="*/ 360 h 512"/>
              <a:gd name="T50" fmla="*/ 320 w 512"/>
              <a:gd name="T51" fmla="*/ 353 h 512"/>
              <a:gd name="T52" fmla="*/ 314 w 512"/>
              <a:gd name="T53" fmla="*/ 384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97 w 512"/>
              <a:gd name="T65" fmla="*/ 237 h 512"/>
              <a:gd name="T66" fmla="*/ 256 w 512"/>
              <a:gd name="T67" fmla="*/ 96 h 512"/>
              <a:gd name="T68" fmla="*/ 114 w 512"/>
              <a:gd name="T69" fmla="*/ 237 h 512"/>
              <a:gd name="T70" fmla="*/ 115 w 512"/>
              <a:gd name="T71" fmla="*/ 247 h 512"/>
              <a:gd name="T72" fmla="*/ 141 w 512"/>
              <a:gd name="T73" fmla="*/ 404 h 512"/>
              <a:gd name="T74" fmla="*/ 146 w 512"/>
              <a:gd name="T75" fmla="*/ 411 h 512"/>
              <a:gd name="T76" fmla="*/ 154 w 512"/>
              <a:gd name="T77" fmla="*/ 413 h 512"/>
              <a:gd name="T78" fmla="*/ 211 w 512"/>
              <a:gd name="T79" fmla="*/ 403 h 512"/>
              <a:gd name="T80" fmla="*/ 220 w 512"/>
              <a:gd name="T81" fmla="*/ 391 h 512"/>
              <a:gd name="T82" fmla="*/ 195 w 512"/>
              <a:gd name="T83" fmla="*/ 247 h 512"/>
              <a:gd name="T84" fmla="*/ 194 w 512"/>
              <a:gd name="T85" fmla="*/ 237 h 512"/>
              <a:gd name="T86" fmla="*/ 256 w 512"/>
              <a:gd name="T87" fmla="*/ 175 h 512"/>
              <a:gd name="T88" fmla="*/ 318 w 512"/>
              <a:gd name="T89" fmla="*/ 237 h 512"/>
              <a:gd name="T90" fmla="*/ 317 w 512"/>
              <a:gd name="T91" fmla="*/ 247 h 512"/>
              <a:gd name="T92" fmla="*/ 292 w 512"/>
              <a:gd name="T93" fmla="*/ 391 h 512"/>
              <a:gd name="T94" fmla="*/ 300 w 512"/>
              <a:gd name="T95" fmla="*/ 403 h 512"/>
              <a:gd name="T96" fmla="*/ 357 w 512"/>
              <a:gd name="T97" fmla="*/ 413 h 512"/>
              <a:gd name="T98" fmla="*/ 359 w 512"/>
              <a:gd name="T99" fmla="*/ 413 h 512"/>
              <a:gd name="T100" fmla="*/ 365 w 512"/>
              <a:gd name="T101" fmla="*/ 411 h 512"/>
              <a:gd name="T102" fmla="*/ 370 w 512"/>
              <a:gd name="T103" fmla="*/ 404 h 512"/>
              <a:gd name="T104" fmla="*/ 397 w 512"/>
              <a:gd name="T105" fmla="*/ 248 h 512"/>
              <a:gd name="T106" fmla="*/ 397 w 512"/>
              <a:gd name="T107" fmla="*/ 247 h 512"/>
              <a:gd name="T108" fmla="*/ 397 w 512"/>
              <a:gd name="T109" fmla="*/ 2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192" y="353"/>
                </a:moveTo>
                <a:cubicBezTo>
                  <a:pt x="197" y="384"/>
                  <a:pt x="197" y="384"/>
                  <a:pt x="197" y="384"/>
                </a:cubicBezTo>
                <a:cubicBezTo>
                  <a:pt x="161" y="390"/>
                  <a:pt x="161" y="390"/>
                  <a:pt x="161" y="390"/>
                </a:cubicBezTo>
                <a:cubicBezTo>
                  <a:pt x="156" y="360"/>
                  <a:pt x="156" y="360"/>
                  <a:pt x="156" y="360"/>
                </a:cubicBezTo>
                <a:lnTo>
                  <a:pt x="192" y="353"/>
                </a:lnTo>
                <a:close/>
                <a:moveTo>
                  <a:pt x="256" y="117"/>
                </a:moveTo>
                <a:cubicBezTo>
                  <a:pt x="189" y="117"/>
                  <a:pt x="135" y="171"/>
                  <a:pt x="135" y="237"/>
                </a:cubicBezTo>
                <a:cubicBezTo>
                  <a:pt x="135" y="240"/>
                  <a:pt x="136" y="242"/>
                  <a:pt x="136" y="245"/>
                </a:cubicBezTo>
                <a:cubicBezTo>
                  <a:pt x="136" y="246"/>
                  <a:pt x="136" y="246"/>
                  <a:pt x="136" y="246"/>
                </a:cubicBezTo>
                <a:cubicBezTo>
                  <a:pt x="152" y="339"/>
                  <a:pt x="152" y="339"/>
                  <a:pt x="152" y="339"/>
                </a:cubicBezTo>
                <a:cubicBezTo>
                  <a:pt x="188" y="332"/>
                  <a:pt x="188" y="332"/>
                  <a:pt x="188" y="332"/>
                </a:cubicBezTo>
                <a:cubicBezTo>
                  <a:pt x="174" y="251"/>
                  <a:pt x="174" y="251"/>
                  <a:pt x="174" y="251"/>
                </a:cubicBezTo>
                <a:cubicBezTo>
                  <a:pt x="173" y="247"/>
                  <a:pt x="172" y="242"/>
                  <a:pt x="172" y="237"/>
                </a:cubicBezTo>
                <a:cubicBezTo>
                  <a:pt x="172" y="190"/>
                  <a:pt x="208" y="154"/>
                  <a:pt x="256" y="154"/>
                </a:cubicBezTo>
                <a:cubicBezTo>
                  <a:pt x="302" y="154"/>
                  <a:pt x="339" y="191"/>
                  <a:pt x="339" y="237"/>
                </a:cubicBezTo>
                <a:cubicBezTo>
                  <a:pt x="339" y="242"/>
                  <a:pt x="338" y="247"/>
                  <a:pt x="338" y="250"/>
                </a:cubicBezTo>
                <a:cubicBezTo>
                  <a:pt x="323" y="332"/>
                  <a:pt x="323" y="332"/>
                  <a:pt x="323" y="332"/>
                </a:cubicBezTo>
                <a:cubicBezTo>
                  <a:pt x="359" y="339"/>
                  <a:pt x="359" y="339"/>
                  <a:pt x="359" y="339"/>
                </a:cubicBezTo>
                <a:cubicBezTo>
                  <a:pt x="375" y="245"/>
                  <a:pt x="375" y="245"/>
                  <a:pt x="375" y="245"/>
                </a:cubicBezTo>
                <a:cubicBezTo>
                  <a:pt x="375" y="245"/>
                  <a:pt x="375" y="245"/>
                  <a:pt x="375" y="245"/>
                </a:cubicBezTo>
                <a:cubicBezTo>
                  <a:pt x="376" y="242"/>
                  <a:pt x="376" y="240"/>
                  <a:pt x="376" y="237"/>
                </a:cubicBezTo>
                <a:cubicBezTo>
                  <a:pt x="376" y="171"/>
                  <a:pt x="322" y="117"/>
                  <a:pt x="256" y="117"/>
                </a:cubicBezTo>
                <a:close/>
                <a:moveTo>
                  <a:pt x="314" y="384"/>
                </a:moveTo>
                <a:cubicBezTo>
                  <a:pt x="351" y="390"/>
                  <a:pt x="351" y="390"/>
                  <a:pt x="351" y="390"/>
                </a:cubicBezTo>
                <a:cubicBezTo>
                  <a:pt x="356" y="360"/>
                  <a:pt x="356" y="360"/>
                  <a:pt x="356" y="360"/>
                </a:cubicBezTo>
                <a:cubicBezTo>
                  <a:pt x="320" y="353"/>
                  <a:pt x="320" y="353"/>
                  <a:pt x="320" y="353"/>
                </a:cubicBezTo>
                <a:lnTo>
                  <a:pt x="314" y="38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7" y="237"/>
                </a:moveTo>
                <a:cubicBezTo>
                  <a:pt x="397" y="159"/>
                  <a:pt x="334" y="96"/>
                  <a:pt x="256" y="96"/>
                </a:cubicBezTo>
                <a:cubicBezTo>
                  <a:pt x="178" y="96"/>
                  <a:pt x="114" y="159"/>
                  <a:pt x="114" y="237"/>
                </a:cubicBezTo>
                <a:cubicBezTo>
                  <a:pt x="114" y="240"/>
                  <a:pt x="114" y="243"/>
                  <a:pt x="115" y="247"/>
                </a:cubicBezTo>
                <a:cubicBezTo>
                  <a:pt x="141" y="404"/>
                  <a:pt x="141" y="404"/>
                  <a:pt x="141" y="404"/>
                </a:cubicBezTo>
                <a:cubicBezTo>
                  <a:pt x="142" y="407"/>
                  <a:pt x="144" y="410"/>
                  <a:pt x="146" y="411"/>
                </a:cubicBezTo>
                <a:cubicBezTo>
                  <a:pt x="148" y="413"/>
                  <a:pt x="151" y="414"/>
                  <a:pt x="154" y="413"/>
                </a:cubicBezTo>
                <a:cubicBezTo>
                  <a:pt x="211" y="403"/>
                  <a:pt x="211" y="403"/>
                  <a:pt x="211" y="403"/>
                </a:cubicBezTo>
                <a:cubicBezTo>
                  <a:pt x="217" y="402"/>
                  <a:pt x="221" y="396"/>
                  <a:pt x="220" y="391"/>
                </a:cubicBezTo>
                <a:cubicBezTo>
                  <a:pt x="195" y="247"/>
                  <a:pt x="195" y="247"/>
                  <a:pt x="195" y="247"/>
                </a:cubicBezTo>
                <a:cubicBezTo>
                  <a:pt x="194" y="244"/>
                  <a:pt x="194" y="240"/>
                  <a:pt x="194" y="237"/>
                </a:cubicBezTo>
                <a:cubicBezTo>
                  <a:pt x="194" y="201"/>
                  <a:pt x="220" y="175"/>
                  <a:pt x="256" y="175"/>
                </a:cubicBezTo>
                <a:cubicBezTo>
                  <a:pt x="290" y="175"/>
                  <a:pt x="318" y="203"/>
                  <a:pt x="318" y="237"/>
                </a:cubicBezTo>
                <a:cubicBezTo>
                  <a:pt x="318" y="240"/>
                  <a:pt x="317" y="244"/>
                  <a:pt x="317" y="247"/>
                </a:cubicBezTo>
                <a:cubicBezTo>
                  <a:pt x="292" y="391"/>
                  <a:pt x="292" y="391"/>
                  <a:pt x="292" y="391"/>
                </a:cubicBezTo>
                <a:cubicBezTo>
                  <a:pt x="291" y="396"/>
                  <a:pt x="294" y="402"/>
                  <a:pt x="300" y="403"/>
                </a:cubicBezTo>
                <a:cubicBezTo>
                  <a:pt x="357" y="413"/>
                  <a:pt x="357" y="413"/>
                  <a:pt x="357" y="413"/>
                </a:cubicBezTo>
                <a:cubicBezTo>
                  <a:pt x="358" y="413"/>
                  <a:pt x="359" y="413"/>
                  <a:pt x="359" y="413"/>
                </a:cubicBezTo>
                <a:cubicBezTo>
                  <a:pt x="362" y="413"/>
                  <a:pt x="364" y="413"/>
                  <a:pt x="365" y="411"/>
                </a:cubicBezTo>
                <a:cubicBezTo>
                  <a:pt x="368" y="410"/>
                  <a:pt x="369" y="407"/>
                  <a:pt x="370" y="404"/>
                </a:cubicBezTo>
                <a:cubicBezTo>
                  <a:pt x="397" y="248"/>
                  <a:pt x="397" y="248"/>
                  <a:pt x="397" y="248"/>
                </a:cubicBezTo>
                <a:cubicBezTo>
                  <a:pt x="397" y="247"/>
                  <a:pt x="397" y="247"/>
                  <a:pt x="397" y="247"/>
                </a:cubicBezTo>
                <a:cubicBezTo>
                  <a:pt x="397" y="243"/>
                  <a:pt x="397" y="240"/>
                  <a:pt x="397" y="237"/>
                </a:cubicBezTo>
                <a:close/>
              </a:path>
            </a:pathLst>
          </a:custGeom>
          <a:solidFill>
            <a:srgbClr val="000000"/>
          </a:solidFill>
          <a:ln w="15875">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Freeform 980">
            <a:extLst>
              <a:ext uri="{FF2B5EF4-FFF2-40B4-BE49-F238E27FC236}">
                <a16:creationId xmlns:a16="http://schemas.microsoft.com/office/drawing/2014/main" id="{CECD3853-9513-4905-B605-3C6E939D2F32}"/>
              </a:ext>
            </a:extLst>
          </p:cNvPr>
          <p:cNvSpPr>
            <a:spLocks noChangeAspect="1" noEditPoints="1"/>
          </p:cNvSpPr>
          <p:nvPr/>
        </p:nvSpPr>
        <p:spPr bwMode="auto">
          <a:xfrm>
            <a:off x="3338128" y="1812845"/>
            <a:ext cx="1073559" cy="1073559"/>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rgbClr val="43B02A"/>
          </a:solidFill>
          <a:ln w="15875">
            <a:solidFill>
              <a:srgbClr val="43B02A"/>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Freeform 723">
            <a:extLst>
              <a:ext uri="{FF2B5EF4-FFF2-40B4-BE49-F238E27FC236}">
                <a16:creationId xmlns:a16="http://schemas.microsoft.com/office/drawing/2014/main" id="{167EB1B8-DA23-416B-84A0-9B435F9F9709}"/>
              </a:ext>
            </a:extLst>
          </p:cNvPr>
          <p:cNvSpPr>
            <a:spLocks noChangeAspect="1" noEditPoints="1"/>
          </p:cNvSpPr>
          <p:nvPr/>
        </p:nvSpPr>
        <p:spPr bwMode="auto">
          <a:xfrm>
            <a:off x="5785708" y="4582410"/>
            <a:ext cx="1602348" cy="1602348"/>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53565A"/>
          </a:solidFill>
          <a:ln w="34925">
            <a:solidFill>
              <a:srgbClr val="53565A"/>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Freeform 153">
            <a:extLst>
              <a:ext uri="{FF2B5EF4-FFF2-40B4-BE49-F238E27FC236}">
                <a16:creationId xmlns:a16="http://schemas.microsoft.com/office/drawing/2014/main" id="{279CDABE-F3EE-4A56-B6BB-E0A67E21A9AA}"/>
              </a:ext>
            </a:extLst>
          </p:cNvPr>
          <p:cNvSpPr>
            <a:spLocks noChangeAspect="1" noEditPoints="1"/>
          </p:cNvSpPr>
          <p:nvPr/>
        </p:nvSpPr>
        <p:spPr bwMode="auto">
          <a:xfrm>
            <a:off x="9686000" y="3673327"/>
            <a:ext cx="1074673" cy="1074673"/>
          </a:xfrm>
          <a:custGeom>
            <a:avLst/>
            <a:gdLst>
              <a:gd name="T0" fmla="*/ 378 w 512"/>
              <a:gd name="T1" fmla="*/ 181 h 512"/>
              <a:gd name="T2" fmla="*/ 256 w 512"/>
              <a:gd name="T3" fmla="*/ 233 h 512"/>
              <a:gd name="T4" fmla="*/ 208 w 512"/>
              <a:gd name="T5" fmla="*/ 213 h 512"/>
              <a:gd name="T6" fmla="*/ 330 w 512"/>
              <a:gd name="T7" fmla="*/ 161 h 512"/>
              <a:gd name="T8" fmla="*/ 378 w 512"/>
              <a:gd name="T9" fmla="*/ 181 h 512"/>
              <a:gd name="T10" fmla="*/ 303 w 512"/>
              <a:gd name="T11" fmla="*/ 149 h 512"/>
              <a:gd name="T12" fmla="*/ 256 w 512"/>
              <a:gd name="T13" fmla="*/ 129 h 512"/>
              <a:gd name="T14" fmla="*/ 133 w 512"/>
              <a:gd name="T15" fmla="*/ 181 h 512"/>
              <a:gd name="T16" fmla="*/ 181 w 512"/>
              <a:gd name="T17" fmla="*/ 201 h 512"/>
              <a:gd name="T18" fmla="*/ 303 w 512"/>
              <a:gd name="T19" fmla="*/ 149 h 512"/>
              <a:gd name="T20" fmla="*/ 117 w 512"/>
              <a:gd name="T21" fmla="*/ 324 h 512"/>
              <a:gd name="T22" fmla="*/ 245 w 512"/>
              <a:gd name="T23" fmla="*/ 388 h 512"/>
              <a:gd name="T24" fmla="*/ 245 w 512"/>
              <a:gd name="T25" fmla="*/ 252 h 512"/>
              <a:gd name="T26" fmla="*/ 117 w 512"/>
              <a:gd name="T27" fmla="*/ 197 h 512"/>
              <a:gd name="T28" fmla="*/ 117 w 512"/>
              <a:gd name="T29" fmla="*/ 324 h 512"/>
              <a:gd name="T30" fmla="*/ 334 w 512"/>
              <a:gd name="T31" fmla="*/ 292 h 512"/>
              <a:gd name="T32" fmla="*/ 309 w 512"/>
              <a:gd name="T33" fmla="*/ 302 h 512"/>
              <a:gd name="T34" fmla="*/ 309 w 512"/>
              <a:gd name="T35" fmla="*/ 325 h 512"/>
              <a:gd name="T36" fmla="*/ 334 w 512"/>
              <a:gd name="T37" fmla="*/ 314 h 512"/>
              <a:gd name="T38" fmla="*/ 334 w 512"/>
              <a:gd name="T39" fmla="*/ 292 h 512"/>
              <a:gd name="T40" fmla="*/ 266 w 512"/>
              <a:gd name="T41" fmla="*/ 252 h 512"/>
              <a:gd name="T42" fmla="*/ 394 w 512"/>
              <a:gd name="T43" fmla="*/ 197 h 512"/>
              <a:gd name="T44" fmla="*/ 394 w 512"/>
              <a:gd name="T45" fmla="*/ 334 h 512"/>
              <a:gd name="T46" fmla="*/ 266 w 512"/>
              <a:gd name="T47" fmla="*/ 389 h 512"/>
              <a:gd name="T48" fmla="*/ 266 w 512"/>
              <a:gd name="T49" fmla="*/ 252 h 512"/>
              <a:gd name="T50" fmla="*/ 288 w 512"/>
              <a:gd name="T51" fmla="*/ 341 h 512"/>
              <a:gd name="T52" fmla="*/ 292 w 512"/>
              <a:gd name="T53" fmla="*/ 350 h 512"/>
              <a:gd name="T54" fmla="*/ 298 w 512"/>
              <a:gd name="T55" fmla="*/ 352 h 512"/>
              <a:gd name="T56" fmla="*/ 303 w 512"/>
              <a:gd name="T57" fmla="*/ 351 h 512"/>
              <a:gd name="T58" fmla="*/ 348 w 512"/>
              <a:gd name="T59" fmla="*/ 331 h 512"/>
              <a:gd name="T60" fmla="*/ 355 w 512"/>
              <a:gd name="T61" fmla="*/ 321 h 512"/>
              <a:gd name="T62" fmla="*/ 355 w 512"/>
              <a:gd name="T63" fmla="*/ 275 h 512"/>
              <a:gd name="T64" fmla="*/ 350 w 512"/>
              <a:gd name="T65" fmla="*/ 267 h 512"/>
              <a:gd name="T66" fmla="*/ 340 w 512"/>
              <a:gd name="T67" fmla="*/ 266 h 512"/>
              <a:gd name="T68" fmla="*/ 294 w 512"/>
              <a:gd name="T69" fmla="*/ 285 h 512"/>
              <a:gd name="T70" fmla="*/ 288 w 512"/>
              <a:gd name="T71" fmla="*/ 295 h 512"/>
              <a:gd name="T72" fmla="*/ 288 w 512"/>
              <a:gd name="T73" fmla="*/ 341 h 512"/>
              <a:gd name="T74" fmla="*/ 512 w 512"/>
              <a:gd name="T75" fmla="*/ 256 h 512"/>
              <a:gd name="T76" fmla="*/ 256 w 512"/>
              <a:gd name="T77" fmla="*/ 512 h 512"/>
              <a:gd name="T78" fmla="*/ 0 w 512"/>
              <a:gd name="T79" fmla="*/ 256 h 512"/>
              <a:gd name="T80" fmla="*/ 256 w 512"/>
              <a:gd name="T81" fmla="*/ 0 h 512"/>
              <a:gd name="T82" fmla="*/ 512 w 512"/>
              <a:gd name="T83" fmla="*/ 256 h 512"/>
              <a:gd name="T84" fmla="*/ 416 w 512"/>
              <a:gd name="T85" fmla="*/ 181 h 512"/>
              <a:gd name="T86" fmla="*/ 409 w 512"/>
              <a:gd name="T87" fmla="*/ 171 h 512"/>
              <a:gd name="T88" fmla="*/ 260 w 512"/>
              <a:gd name="T89" fmla="*/ 107 h 512"/>
              <a:gd name="T90" fmla="*/ 251 w 512"/>
              <a:gd name="T91" fmla="*/ 107 h 512"/>
              <a:gd name="T92" fmla="*/ 102 w 512"/>
              <a:gd name="T93" fmla="*/ 171 h 512"/>
              <a:gd name="T94" fmla="*/ 102 w 512"/>
              <a:gd name="T95" fmla="*/ 171 h 512"/>
              <a:gd name="T96" fmla="*/ 102 w 512"/>
              <a:gd name="T97" fmla="*/ 171 h 512"/>
              <a:gd name="T98" fmla="*/ 102 w 512"/>
              <a:gd name="T99" fmla="*/ 171 h 512"/>
              <a:gd name="T100" fmla="*/ 96 w 512"/>
              <a:gd name="T101" fmla="*/ 181 h 512"/>
              <a:gd name="T102" fmla="*/ 96 w 512"/>
              <a:gd name="T103" fmla="*/ 330 h 512"/>
              <a:gd name="T104" fmla="*/ 102 w 512"/>
              <a:gd name="T105" fmla="*/ 340 h 512"/>
              <a:gd name="T106" fmla="*/ 251 w 512"/>
              <a:gd name="T107" fmla="*/ 415 h 512"/>
              <a:gd name="T108" fmla="*/ 256 w 512"/>
              <a:gd name="T109" fmla="*/ 416 h 512"/>
              <a:gd name="T110" fmla="*/ 256 w 512"/>
              <a:gd name="T111" fmla="*/ 416 h 512"/>
              <a:gd name="T112" fmla="*/ 256 w 512"/>
              <a:gd name="T113" fmla="*/ 416 h 512"/>
              <a:gd name="T114" fmla="*/ 256 w 512"/>
              <a:gd name="T115" fmla="*/ 416 h 512"/>
              <a:gd name="T116" fmla="*/ 259 w 512"/>
              <a:gd name="T117" fmla="*/ 415 h 512"/>
              <a:gd name="T118" fmla="*/ 260 w 512"/>
              <a:gd name="T119" fmla="*/ 415 h 512"/>
              <a:gd name="T120" fmla="*/ 409 w 512"/>
              <a:gd name="T121" fmla="*/ 351 h 512"/>
              <a:gd name="T122" fmla="*/ 416 w 512"/>
              <a:gd name="T123" fmla="*/ 341 h 512"/>
              <a:gd name="T124" fmla="*/ 416 w 512"/>
              <a:gd name="T12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78" y="181"/>
                </a:moveTo>
                <a:cubicBezTo>
                  <a:pt x="256" y="233"/>
                  <a:pt x="256" y="233"/>
                  <a:pt x="256" y="233"/>
                </a:cubicBezTo>
                <a:cubicBezTo>
                  <a:pt x="208" y="213"/>
                  <a:pt x="208" y="213"/>
                  <a:pt x="208" y="213"/>
                </a:cubicBezTo>
                <a:cubicBezTo>
                  <a:pt x="330" y="161"/>
                  <a:pt x="330" y="161"/>
                  <a:pt x="330" y="161"/>
                </a:cubicBezTo>
                <a:lnTo>
                  <a:pt x="378" y="181"/>
                </a:lnTo>
                <a:close/>
                <a:moveTo>
                  <a:pt x="303" y="149"/>
                </a:moveTo>
                <a:cubicBezTo>
                  <a:pt x="256" y="129"/>
                  <a:pt x="256" y="129"/>
                  <a:pt x="256" y="129"/>
                </a:cubicBezTo>
                <a:cubicBezTo>
                  <a:pt x="133" y="181"/>
                  <a:pt x="133" y="181"/>
                  <a:pt x="133" y="181"/>
                </a:cubicBezTo>
                <a:cubicBezTo>
                  <a:pt x="181" y="201"/>
                  <a:pt x="181" y="201"/>
                  <a:pt x="181" y="201"/>
                </a:cubicBezTo>
                <a:lnTo>
                  <a:pt x="303" y="149"/>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334" y="292"/>
                </a:moveTo>
                <a:cubicBezTo>
                  <a:pt x="309" y="302"/>
                  <a:pt x="309" y="302"/>
                  <a:pt x="309" y="302"/>
                </a:cubicBezTo>
                <a:cubicBezTo>
                  <a:pt x="309" y="325"/>
                  <a:pt x="309" y="325"/>
                  <a:pt x="309" y="325"/>
                </a:cubicBezTo>
                <a:cubicBezTo>
                  <a:pt x="334" y="314"/>
                  <a:pt x="334" y="314"/>
                  <a:pt x="334" y="314"/>
                </a:cubicBezTo>
                <a:lnTo>
                  <a:pt x="334" y="292"/>
                </a:lnTo>
                <a:close/>
                <a:moveTo>
                  <a:pt x="266" y="252"/>
                </a:moveTo>
                <a:cubicBezTo>
                  <a:pt x="394" y="197"/>
                  <a:pt x="394" y="197"/>
                  <a:pt x="394" y="197"/>
                </a:cubicBezTo>
                <a:cubicBezTo>
                  <a:pt x="394" y="223"/>
                  <a:pt x="394" y="334"/>
                  <a:pt x="394" y="334"/>
                </a:cubicBezTo>
                <a:cubicBezTo>
                  <a:pt x="266" y="389"/>
                  <a:pt x="266" y="389"/>
                  <a:pt x="266" y="389"/>
                </a:cubicBezTo>
                <a:lnTo>
                  <a:pt x="266" y="252"/>
                </a:lnTo>
                <a:close/>
                <a:moveTo>
                  <a:pt x="288" y="341"/>
                </a:moveTo>
                <a:cubicBezTo>
                  <a:pt x="288" y="345"/>
                  <a:pt x="289" y="348"/>
                  <a:pt x="292" y="350"/>
                </a:cubicBezTo>
                <a:cubicBezTo>
                  <a:pt x="294" y="351"/>
                  <a:pt x="296" y="352"/>
                  <a:pt x="298" y="352"/>
                </a:cubicBezTo>
                <a:cubicBezTo>
                  <a:pt x="300" y="352"/>
                  <a:pt x="301" y="351"/>
                  <a:pt x="303" y="351"/>
                </a:cubicBezTo>
                <a:cubicBezTo>
                  <a:pt x="348" y="331"/>
                  <a:pt x="348" y="331"/>
                  <a:pt x="348" y="331"/>
                </a:cubicBezTo>
                <a:cubicBezTo>
                  <a:pt x="352" y="329"/>
                  <a:pt x="355" y="326"/>
                  <a:pt x="355" y="321"/>
                </a:cubicBezTo>
                <a:cubicBezTo>
                  <a:pt x="355" y="275"/>
                  <a:pt x="355" y="275"/>
                  <a:pt x="355" y="275"/>
                </a:cubicBezTo>
                <a:cubicBezTo>
                  <a:pt x="355" y="272"/>
                  <a:pt x="353" y="269"/>
                  <a:pt x="350" y="267"/>
                </a:cubicBezTo>
                <a:cubicBezTo>
                  <a:pt x="347" y="265"/>
                  <a:pt x="343" y="264"/>
                  <a:pt x="340" y="266"/>
                </a:cubicBezTo>
                <a:cubicBezTo>
                  <a:pt x="294" y="285"/>
                  <a:pt x="294" y="285"/>
                  <a:pt x="294" y="285"/>
                </a:cubicBezTo>
                <a:cubicBezTo>
                  <a:pt x="290" y="287"/>
                  <a:pt x="288" y="291"/>
                  <a:pt x="288" y="295"/>
                </a:cubicBezTo>
                <a:lnTo>
                  <a:pt x="288"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77"/>
                  <a:pt x="413" y="173"/>
                  <a:pt x="409" y="171"/>
                </a:cubicBezTo>
                <a:cubicBezTo>
                  <a:pt x="260" y="107"/>
                  <a:pt x="260" y="107"/>
                  <a:pt x="260" y="107"/>
                </a:cubicBezTo>
                <a:cubicBezTo>
                  <a:pt x="257" y="106"/>
                  <a:pt x="254" y="106"/>
                  <a:pt x="251" y="107"/>
                </a:cubicBezTo>
                <a:cubicBezTo>
                  <a:pt x="102" y="171"/>
                  <a:pt x="102" y="171"/>
                  <a:pt x="102" y="171"/>
                </a:cubicBezTo>
                <a:cubicBezTo>
                  <a:pt x="102" y="171"/>
                  <a:pt x="102" y="171"/>
                  <a:pt x="102" y="171"/>
                </a:cubicBezTo>
                <a:cubicBezTo>
                  <a:pt x="102" y="171"/>
                  <a:pt x="102" y="171"/>
                  <a:pt x="102" y="171"/>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2" y="415"/>
                  <a:pt x="254"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rgbClr val="86BC25"/>
          </a:solidFill>
          <a:ln w="19050">
            <a:solidFill>
              <a:srgbClr val="86BC25"/>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Title 2">
            <a:extLst>
              <a:ext uri="{FF2B5EF4-FFF2-40B4-BE49-F238E27FC236}">
                <a16:creationId xmlns:a16="http://schemas.microsoft.com/office/drawing/2014/main" id="{4CA696E0-6818-4EB4-9349-F415BBF81DD0}"/>
              </a:ext>
            </a:extLst>
          </p:cNvPr>
          <p:cNvSpPr txBox="1">
            <a:spLocks/>
          </p:cNvSpPr>
          <p:nvPr/>
        </p:nvSpPr>
        <p:spPr>
          <a:xfrm>
            <a:off x="501650" y="317500"/>
            <a:ext cx="11188700" cy="334099"/>
          </a:xfrm>
          <a:prstGeom prst="rect">
            <a:avLst/>
          </a:prstGeom>
        </p:spPr>
        <p:txBody>
          <a:bodyPr/>
          <a:lst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US" sz="2100" b="0"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Data Analysis</a:t>
            </a:r>
          </a:p>
        </p:txBody>
      </p:sp>
    </p:spTree>
    <p:extLst>
      <p:ext uri="{BB962C8B-B14F-4D97-AF65-F5344CB8AC3E}">
        <p14:creationId xmlns:p14="http://schemas.microsoft.com/office/powerpoint/2010/main" val="103362476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2">
            <a:extLst>
              <a:ext uri="{FF2B5EF4-FFF2-40B4-BE49-F238E27FC236}">
                <a16:creationId xmlns:a16="http://schemas.microsoft.com/office/drawing/2014/main" id="{77E5DDC4-98C6-4F38-988F-49A391A4FC88}"/>
              </a:ext>
            </a:extLst>
          </p:cNvPr>
          <p:cNvSpPr txBox="1">
            <a:spLocks/>
          </p:cNvSpPr>
          <p:nvPr/>
        </p:nvSpPr>
        <p:spPr>
          <a:xfrm>
            <a:off x="501650" y="317500"/>
            <a:ext cx="11188700" cy="334099"/>
          </a:xfrm>
          <a:prstGeom prst="rect">
            <a:avLst/>
          </a:prstGeom>
        </p:spPr>
        <p:txBody>
          <a:bodyPr/>
          <a:lst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US" sz="2100" b="0"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Statistical Inference</a:t>
            </a:r>
          </a:p>
        </p:txBody>
      </p:sp>
    </p:spTree>
    <p:extLst>
      <p:ext uri="{BB962C8B-B14F-4D97-AF65-F5344CB8AC3E}">
        <p14:creationId xmlns:p14="http://schemas.microsoft.com/office/powerpoint/2010/main" val="362336430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Snip Diagonal Corner Rectangle 156">
            <a:extLst>
              <a:ext uri="{FF2B5EF4-FFF2-40B4-BE49-F238E27FC236}">
                <a16:creationId xmlns:a16="http://schemas.microsoft.com/office/drawing/2014/main" id="{EDA2B5E1-D05F-614D-AEE0-3ADCA27A2923}"/>
              </a:ext>
            </a:extLst>
          </p:cNvPr>
          <p:cNvSpPr/>
          <p:nvPr/>
        </p:nvSpPr>
        <p:spPr bwMode="gray">
          <a:xfrm>
            <a:off x="492125" y="2395969"/>
            <a:ext cx="2373307" cy="585952"/>
          </a:xfrm>
          <a:prstGeom prst="snip2DiagRect">
            <a:avLst>
              <a:gd name="adj1" fmla="val 0"/>
              <a:gd name="adj2" fmla="val 40745"/>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Calibri"/>
                <a:ea typeface="+mn-ea"/>
                <a:cs typeface="+mn-cs"/>
              </a:rPr>
              <a:t>Lorem ipsum dolor </a:t>
            </a:r>
          </a:p>
        </p:txBody>
      </p:sp>
      <p:sp>
        <p:nvSpPr>
          <p:cNvPr id="162" name="Text Placeholder 3">
            <a:extLst>
              <a:ext uri="{FF2B5EF4-FFF2-40B4-BE49-F238E27FC236}">
                <a16:creationId xmlns:a16="http://schemas.microsoft.com/office/drawing/2014/main" id="{6EC9F5DD-B713-B24A-B7F7-92508563558B}"/>
              </a:ext>
            </a:extLst>
          </p:cNvPr>
          <p:cNvSpPr txBox="1">
            <a:spLocks/>
          </p:cNvSpPr>
          <p:nvPr/>
        </p:nvSpPr>
        <p:spPr bwMode="gray">
          <a:xfrm>
            <a:off x="723900" y="3147021"/>
            <a:ext cx="1898650" cy="2000548"/>
          </a:xfrm>
          <a:prstGeom prst="rect">
            <a:avLst/>
          </a:prstGeom>
        </p:spPr>
        <p:txBody>
          <a:bodyPr vert="horz" wrap="square" lIns="0" tIns="0" rIns="0" bIns="0" rtlCol="0">
            <a:spAutoFit/>
          </a:bodyPr>
          <a:lstStyle/>
          <a:p>
            <a:pPr marL="85725" marR="0" lvl="1" indent="-8572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This is dummy text it is not here to be read. The is just text to show where you could insert text. </a:t>
            </a:r>
          </a:p>
          <a:p>
            <a:pPr marL="85725" marR="0" lvl="1" indent="-8572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a:p>
            <a:pPr marL="85725" marR="0" lvl="1" indent="-8572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The is just to show where you could insert text. </a:t>
            </a:r>
          </a:p>
          <a:p>
            <a:pPr marL="85725" marR="0" lvl="1" indent="-8572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a:p>
            <a:pPr marL="85725" marR="0" lvl="1" indent="-8572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Please replace with your text content here.</a:t>
            </a:r>
          </a:p>
        </p:txBody>
      </p:sp>
      <p:sp>
        <p:nvSpPr>
          <p:cNvPr id="165" name="Isosceles Triangle 13">
            <a:extLst>
              <a:ext uri="{FF2B5EF4-FFF2-40B4-BE49-F238E27FC236}">
                <a16:creationId xmlns:a16="http://schemas.microsoft.com/office/drawing/2014/main" id="{7A2A662C-941D-CB40-AB5A-2FFAA1B8200F}"/>
              </a:ext>
            </a:extLst>
          </p:cNvPr>
          <p:cNvSpPr/>
          <p:nvPr/>
        </p:nvSpPr>
        <p:spPr bwMode="gray">
          <a:xfrm>
            <a:off x="1219493" y="2067335"/>
            <a:ext cx="747389" cy="289082"/>
          </a:xfrm>
          <a:prstGeom prst="triangle">
            <a:avLst/>
          </a:prstGeom>
          <a:solidFill>
            <a:srgbClr val="A7A8AA"/>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a:ea typeface="+mn-ea"/>
              <a:cs typeface="+mn-cs"/>
            </a:endParaRPr>
          </a:p>
        </p:txBody>
      </p:sp>
      <p:sp>
        <p:nvSpPr>
          <p:cNvPr id="166" name="Oval 165">
            <a:extLst>
              <a:ext uri="{FF2B5EF4-FFF2-40B4-BE49-F238E27FC236}">
                <a16:creationId xmlns:a16="http://schemas.microsoft.com/office/drawing/2014/main" id="{FA48C6B6-B32C-FD44-BB31-00888A1A3948}"/>
              </a:ext>
            </a:extLst>
          </p:cNvPr>
          <p:cNvSpPr/>
          <p:nvPr/>
        </p:nvSpPr>
        <p:spPr bwMode="gray">
          <a:xfrm rot="5400000">
            <a:off x="972652" y="1714500"/>
            <a:ext cx="648736" cy="648736"/>
          </a:xfrm>
          <a:prstGeom prst="ellipse">
            <a:avLst/>
          </a:prstGeom>
          <a:solidFill>
            <a:srgbClr val="000000"/>
          </a:solidFill>
          <a:ln w="38100" algn="ctr">
            <a:solidFill>
              <a:schemeClr val="bg1"/>
            </a:solidFill>
            <a:miter lim="800000"/>
            <a:headEnd/>
            <a:tailEnd/>
          </a:ln>
        </p:spPr>
        <p:txBody>
          <a:bodyPr wrap="square" lIns="66675" tIns="66675" rIns="66675" bIns="66675"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173" name="Straight Connector 172">
            <a:extLst>
              <a:ext uri="{FF2B5EF4-FFF2-40B4-BE49-F238E27FC236}">
                <a16:creationId xmlns:a16="http://schemas.microsoft.com/office/drawing/2014/main" id="{BF6C6E86-7F68-6241-B4FB-3AB1291A8951}"/>
              </a:ext>
            </a:extLst>
          </p:cNvPr>
          <p:cNvCxnSpPr/>
          <p:nvPr/>
        </p:nvCxnSpPr>
        <p:spPr>
          <a:xfrm>
            <a:off x="2859976" y="2981920"/>
            <a:ext cx="0" cy="2516799"/>
          </a:xfrm>
          <a:prstGeom prst="line">
            <a:avLst/>
          </a:prstGeom>
          <a:ln>
            <a:solidFill>
              <a:srgbClr val="000000"/>
            </a:solidFill>
            <a:tailEnd type="oval"/>
          </a:ln>
        </p:spPr>
        <p:style>
          <a:lnRef idx="1">
            <a:schemeClr val="accent1"/>
          </a:lnRef>
          <a:fillRef idx="0">
            <a:schemeClr val="accent1"/>
          </a:fillRef>
          <a:effectRef idx="0">
            <a:schemeClr val="accent1"/>
          </a:effectRef>
          <a:fontRef idx="minor">
            <a:schemeClr val="tx1"/>
          </a:fontRef>
        </p:style>
      </p:cxnSp>
      <p:grpSp>
        <p:nvGrpSpPr>
          <p:cNvPr id="177" name="Group 144">
            <a:extLst>
              <a:ext uri="{FF2B5EF4-FFF2-40B4-BE49-F238E27FC236}">
                <a16:creationId xmlns:a16="http://schemas.microsoft.com/office/drawing/2014/main" id="{5091D5AC-68F3-0D4E-AD3B-484CD9BD35DF}"/>
              </a:ext>
            </a:extLst>
          </p:cNvPr>
          <p:cNvGrpSpPr>
            <a:grpSpLocks noChangeAspect="1"/>
          </p:cNvGrpSpPr>
          <p:nvPr/>
        </p:nvGrpSpPr>
        <p:grpSpPr bwMode="auto">
          <a:xfrm>
            <a:off x="1054468" y="1788429"/>
            <a:ext cx="490985" cy="490985"/>
            <a:chOff x="2963" y="1300"/>
            <a:chExt cx="340" cy="340"/>
          </a:xfrm>
          <a:solidFill>
            <a:schemeClr val="bg1"/>
          </a:solidFill>
        </p:grpSpPr>
        <p:sp>
          <p:nvSpPr>
            <p:cNvPr id="187" name="Freeform 145">
              <a:extLst>
                <a:ext uri="{FF2B5EF4-FFF2-40B4-BE49-F238E27FC236}">
                  <a16:creationId xmlns:a16="http://schemas.microsoft.com/office/drawing/2014/main" id="{8370EDDB-5243-F648-8F23-B42CCF436E48}"/>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188" name="Freeform 146">
              <a:extLst>
                <a:ext uri="{FF2B5EF4-FFF2-40B4-BE49-F238E27FC236}">
                  <a16:creationId xmlns:a16="http://schemas.microsoft.com/office/drawing/2014/main" id="{CFC584C0-4E4B-CC4B-9AF2-E37A419D8FDC}"/>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63" name="Snip Diagonal Corner Rectangle 162">
            <a:extLst>
              <a:ext uri="{FF2B5EF4-FFF2-40B4-BE49-F238E27FC236}">
                <a16:creationId xmlns:a16="http://schemas.microsoft.com/office/drawing/2014/main" id="{744C2EFD-9209-DC40-A0A6-8DF55D89C594}"/>
              </a:ext>
            </a:extLst>
          </p:cNvPr>
          <p:cNvSpPr/>
          <p:nvPr/>
        </p:nvSpPr>
        <p:spPr bwMode="gray">
          <a:xfrm>
            <a:off x="3431821" y="2395969"/>
            <a:ext cx="2373307" cy="585952"/>
          </a:xfrm>
          <a:prstGeom prst="snip2DiagRect">
            <a:avLst>
              <a:gd name="adj1" fmla="val 0"/>
              <a:gd name="adj2" fmla="val 359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Calibri"/>
                <a:ea typeface="+mn-ea"/>
                <a:cs typeface="+mn-cs"/>
              </a:rPr>
              <a:t>Lorem ipsum dolor </a:t>
            </a:r>
          </a:p>
        </p:txBody>
      </p:sp>
      <p:sp>
        <p:nvSpPr>
          <p:cNvPr id="164" name="Text Placeholder 3">
            <a:extLst>
              <a:ext uri="{FF2B5EF4-FFF2-40B4-BE49-F238E27FC236}">
                <a16:creationId xmlns:a16="http://schemas.microsoft.com/office/drawing/2014/main" id="{168D657D-85AB-5B42-BE41-556067E8F344}"/>
              </a:ext>
            </a:extLst>
          </p:cNvPr>
          <p:cNvSpPr txBox="1">
            <a:spLocks/>
          </p:cNvSpPr>
          <p:nvPr/>
        </p:nvSpPr>
        <p:spPr bwMode="gray">
          <a:xfrm>
            <a:off x="3663596" y="3147021"/>
            <a:ext cx="1898650" cy="2000548"/>
          </a:xfrm>
          <a:prstGeom prst="rect">
            <a:avLst/>
          </a:prstGeom>
        </p:spPr>
        <p:txBody>
          <a:bodyPr vert="horz" wrap="square" lIns="0" tIns="0" rIns="0" bIns="0" rtlCol="0">
            <a:spAutoFit/>
          </a:bodyPr>
          <a:lstStyle/>
          <a:p>
            <a:pPr marL="85725" marR="0" lvl="1" indent="-8572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This is dummy text it is not here to be read. The is just text to show where you could insert text. </a:t>
            </a:r>
          </a:p>
          <a:p>
            <a:pPr marL="85725" marR="0" lvl="1" indent="-8572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a:p>
            <a:pPr marL="85725" marR="0" lvl="1" indent="-8572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The is just to show where you could insert text. </a:t>
            </a:r>
          </a:p>
          <a:p>
            <a:pPr marL="85725" marR="0" lvl="1" indent="-8572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a:p>
            <a:pPr marL="85725" marR="0" lvl="1" indent="-8572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Please replace with your text content here.</a:t>
            </a:r>
          </a:p>
        </p:txBody>
      </p:sp>
      <p:sp>
        <p:nvSpPr>
          <p:cNvPr id="167" name="Isosceles Triangle 14">
            <a:extLst>
              <a:ext uri="{FF2B5EF4-FFF2-40B4-BE49-F238E27FC236}">
                <a16:creationId xmlns:a16="http://schemas.microsoft.com/office/drawing/2014/main" id="{646E63EC-EFD0-9941-B3B0-5D11B03431FE}"/>
              </a:ext>
            </a:extLst>
          </p:cNvPr>
          <p:cNvSpPr/>
          <p:nvPr/>
        </p:nvSpPr>
        <p:spPr bwMode="gray">
          <a:xfrm>
            <a:off x="4246160" y="2067335"/>
            <a:ext cx="747389" cy="289082"/>
          </a:xfrm>
          <a:prstGeom prst="triangle">
            <a:avLst/>
          </a:prstGeom>
          <a:solidFill>
            <a:srgbClr val="D0D0CE"/>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a:ea typeface="+mn-ea"/>
              <a:cs typeface="+mn-cs"/>
            </a:endParaRPr>
          </a:p>
        </p:txBody>
      </p:sp>
      <p:sp>
        <p:nvSpPr>
          <p:cNvPr id="168" name="Oval 167">
            <a:extLst>
              <a:ext uri="{FF2B5EF4-FFF2-40B4-BE49-F238E27FC236}">
                <a16:creationId xmlns:a16="http://schemas.microsoft.com/office/drawing/2014/main" id="{73615390-8204-D44E-B05F-3F2928133329}"/>
              </a:ext>
            </a:extLst>
          </p:cNvPr>
          <p:cNvSpPr/>
          <p:nvPr/>
        </p:nvSpPr>
        <p:spPr bwMode="gray">
          <a:xfrm rot="5400000">
            <a:off x="3999319" y="1714500"/>
            <a:ext cx="648736" cy="648736"/>
          </a:xfrm>
          <a:prstGeom prst="ellipse">
            <a:avLst/>
          </a:prstGeom>
          <a:solidFill>
            <a:schemeClr val="accent1"/>
          </a:solidFill>
          <a:ln w="38100" algn="ctr">
            <a:solidFill>
              <a:schemeClr val="bg1"/>
            </a:solidFill>
            <a:miter lim="800000"/>
            <a:headEnd/>
            <a:tailEnd/>
          </a:ln>
        </p:spPr>
        <p:txBody>
          <a:bodyPr wrap="square" lIns="66675" tIns="66675" rIns="66675" bIns="66675"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174" name="Straight Connector 173">
            <a:extLst>
              <a:ext uri="{FF2B5EF4-FFF2-40B4-BE49-F238E27FC236}">
                <a16:creationId xmlns:a16="http://schemas.microsoft.com/office/drawing/2014/main" id="{78D12390-4464-DA40-836F-DAC62618E729}"/>
              </a:ext>
            </a:extLst>
          </p:cNvPr>
          <p:cNvCxnSpPr/>
          <p:nvPr/>
        </p:nvCxnSpPr>
        <p:spPr>
          <a:xfrm>
            <a:off x="5792704" y="2981920"/>
            <a:ext cx="0" cy="2516799"/>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grpSp>
        <p:nvGrpSpPr>
          <p:cNvPr id="178" name="Group 726">
            <a:extLst>
              <a:ext uri="{FF2B5EF4-FFF2-40B4-BE49-F238E27FC236}">
                <a16:creationId xmlns:a16="http://schemas.microsoft.com/office/drawing/2014/main" id="{34E3D019-E2B1-8B48-A9F7-A16BD3CC2882}"/>
              </a:ext>
            </a:extLst>
          </p:cNvPr>
          <p:cNvGrpSpPr>
            <a:grpSpLocks noChangeAspect="1"/>
          </p:cNvGrpSpPr>
          <p:nvPr/>
        </p:nvGrpSpPr>
        <p:grpSpPr bwMode="auto">
          <a:xfrm>
            <a:off x="4083257" y="1795249"/>
            <a:ext cx="490985" cy="490985"/>
            <a:chOff x="5022" y="3403"/>
            <a:chExt cx="340" cy="340"/>
          </a:xfrm>
          <a:solidFill>
            <a:schemeClr val="bg1"/>
          </a:solidFill>
        </p:grpSpPr>
        <p:sp>
          <p:nvSpPr>
            <p:cNvPr id="185" name="Freeform 727">
              <a:extLst>
                <a:ext uri="{FF2B5EF4-FFF2-40B4-BE49-F238E27FC236}">
                  <a16:creationId xmlns:a16="http://schemas.microsoft.com/office/drawing/2014/main" id="{4CBB8A33-D367-094E-BACE-36C8A8F2D92B}"/>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186" name="Freeform 728">
              <a:extLst>
                <a:ext uri="{FF2B5EF4-FFF2-40B4-BE49-F238E27FC236}">
                  <a16:creationId xmlns:a16="http://schemas.microsoft.com/office/drawing/2014/main" id="{103C372C-CD2A-104C-9B61-69D14880F295}"/>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58" name="Text Placeholder 3">
            <a:extLst>
              <a:ext uri="{FF2B5EF4-FFF2-40B4-BE49-F238E27FC236}">
                <a16:creationId xmlns:a16="http://schemas.microsoft.com/office/drawing/2014/main" id="{9CA5F1FB-EE49-A241-AC55-C54ED8FA63E0}"/>
              </a:ext>
            </a:extLst>
          </p:cNvPr>
          <p:cNvSpPr txBox="1">
            <a:spLocks/>
          </p:cNvSpPr>
          <p:nvPr/>
        </p:nvSpPr>
        <p:spPr bwMode="gray">
          <a:xfrm>
            <a:off x="6603292" y="3147021"/>
            <a:ext cx="1898650" cy="2000548"/>
          </a:xfrm>
          <a:prstGeom prst="rect">
            <a:avLst/>
          </a:prstGeom>
        </p:spPr>
        <p:txBody>
          <a:bodyPr vert="horz" wrap="square" lIns="0" tIns="0" rIns="0" bIns="0" rtlCol="0">
            <a:spAutoFit/>
          </a:bodyPr>
          <a:lstStyle/>
          <a:p>
            <a:pPr marL="85725" marR="0" lvl="1" indent="-8572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This is dummy text it is not here to be read. The is just text to show where you could insert text. </a:t>
            </a:r>
          </a:p>
          <a:p>
            <a:pPr marL="85725" marR="0" lvl="1" indent="-8572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a:p>
            <a:pPr marL="85725" marR="0" lvl="1" indent="-8572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The is just to show where you could insert text. </a:t>
            </a:r>
          </a:p>
          <a:p>
            <a:pPr marL="85725" marR="0" lvl="1" indent="-8572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a:p>
            <a:pPr marL="85725" marR="0" lvl="1" indent="-8572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Please replace with your text content here.</a:t>
            </a:r>
          </a:p>
        </p:txBody>
      </p:sp>
      <p:sp>
        <p:nvSpPr>
          <p:cNvPr id="159" name="Snip Diagonal Corner Rectangle 158">
            <a:extLst>
              <a:ext uri="{FF2B5EF4-FFF2-40B4-BE49-F238E27FC236}">
                <a16:creationId xmlns:a16="http://schemas.microsoft.com/office/drawing/2014/main" id="{57C2DDF7-3D08-B745-8337-785CC421C40D}"/>
              </a:ext>
            </a:extLst>
          </p:cNvPr>
          <p:cNvSpPr/>
          <p:nvPr/>
        </p:nvSpPr>
        <p:spPr bwMode="gray">
          <a:xfrm>
            <a:off x="6371517" y="2395969"/>
            <a:ext cx="2373307" cy="585952"/>
          </a:xfrm>
          <a:prstGeom prst="snip2DiagRect">
            <a:avLst>
              <a:gd name="adj1" fmla="val 0"/>
              <a:gd name="adj2" fmla="val 3833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Calibri"/>
                <a:ea typeface="+mn-ea"/>
                <a:cs typeface="+mn-cs"/>
              </a:rPr>
              <a:t>Lorem ipsum dolor </a:t>
            </a:r>
          </a:p>
        </p:txBody>
      </p:sp>
      <p:sp>
        <p:nvSpPr>
          <p:cNvPr id="169" name="Isosceles Triangle 16">
            <a:extLst>
              <a:ext uri="{FF2B5EF4-FFF2-40B4-BE49-F238E27FC236}">
                <a16:creationId xmlns:a16="http://schemas.microsoft.com/office/drawing/2014/main" id="{A8154F24-1175-E048-B0E2-A8EA584947C3}"/>
              </a:ext>
            </a:extLst>
          </p:cNvPr>
          <p:cNvSpPr/>
          <p:nvPr/>
        </p:nvSpPr>
        <p:spPr bwMode="gray">
          <a:xfrm>
            <a:off x="7174066" y="2067335"/>
            <a:ext cx="747389" cy="289082"/>
          </a:xfrm>
          <a:prstGeom prst="triangle">
            <a:avLst/>
          </a:prstGeom>
          <a:solidFill>
            <a:srgbClr val="A7A8AA"/>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a:ea typeface="+mn-ea"/>
              <a:cs typeface="+mn-cs"/>
            </a:endParaRPr>
          </a:p>
        </p:txBody>
      </p:sp>
      <p:sp>
        <p:nvSpPr>
          <p:cNvPr id="170" name="Oval 169">
            <a:extLst>
              <a:ext uri="{FF2B5EF4-FFF2-40B4-BE49-F238E27FC236}">
                <a16:creationId xmlns:a16="http://schemas.microsoft.com/office/drawing/2014/main" id="{58275A06-AA92-3A46-BA14-900D5B8A2D75}"/>
              </a:ext>
            </a:extLst>
          </p:cNvPr>
          <p:cNvSpPr/>
          <p:nvPr/>
        </p:nvSpPr>
        <p:spPr bwMode="gray">
          <a:xfrm rot="5400000">
            <a:off x="6927225" y="1714500"/>
            <a:ext cx="648736" cy="648736"/>
          </a:xfrm>
          <a:prstGeom prst="ellipse">
            <a:avLst/>
          </a:prstGeom>
          <a:solidFill>
            <a:schemeClr val="tx2"/>
          </a:solidFill>
          <a:ln w="38100" algn="ctr">
            <a:solidFill>
              <a:schemeClr val="bg1"/>
            </a:solidFill>
            <a:miter lim="800000"/>
            <a:headEnd/>
            <a:tailEnd/>
          </a:ln>
        </p:spPr>
        <p:txBody>
          <a:bodyPr wrap="square" lIns="66675" tIns="66675" rIns="66675" bIns="66675"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175" name="Straight Connector 174">
            <a:extLst>
              <a:ext uri="{FF2B5EF4-FFF2-40B4-BE49-F238E27FC236}">
                <a16:creationId xmlns:a16="http://schemas.microsoft.com/office/drawing/2014/main" id="{669F31C1-664B-5648-BDED-641EE353ADBC}"/>
              </a:ext>
            </a:extLst>
          </p:cNvPr>
          <p:cNvCxnSpPr/>
          <p:nvPr/>
        </p:nvCxnSpPr>
        <p:spPr>
          <a:xfrm>
            <a:off x="8735789" y="2981920"/>
            <a:ext cx="0" cy="2516799"/>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grpSp>
        <p:nvGrpSpPr>
          <p:cNvPr id="179" name="Group 986">
            <a:extLst>
              <a:ext uri="{FF2B5EF4-FFF2-40B4-BE49-F238E27FC236}">
                <a16:creationId xmlns:a16="http://schemas.microsoft.com/office/drawing/2014/main" id="{8C65C291-230E-B14D-BFAD-62A22D4184FE}"/>
              </a:ext>
            </a:extLst>
          </p:cNvPr>
          <p:cNvGrpSpPr>
            <a:grpSpLocks noChangeAspect="1"/>
          </p:cNvGrpSpPr>
          <p:nvPr/>
        </p:nvGrpSpPr>
        <p:grpSpPr bwMode="auto">
          <a:xfrm>
            <a:off x="7012231" y="1795249"/>
            <a:ext cx="490985" cy="490985"/>
            <a:chOff x="4274" y="3998"/>
            <a:chExt cx="340" cy="340"/>
          </a:xfrm>
          <a:solidFill>
            <a:schemeClr val="bg1"/>
          </a:solidFill>
        </p:grpSpPr>
        <p:sp>
          <p:nvSpPr>
            <p:cNvPr id="183" name="Freeform 987">
              <a:extLst>
                <a:ext uri="{FF2B5EF4-FFF2-40B4-BE49-F238E27FC236}">
                  <a16:creationId xmlns:a16="http://schemas.microsoft.com/office/drawing/2014/main" id="{6ED93CD4-A427-954F-AF76-5A824DE1BA3D}"/>
                </a:ext>
              </a:extLst>
            </p:cNvPr>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184" name="Freeform 988">
              <a:extLst>
                <a:ext uri="{FF2B5EF4-FFF2-40B4-BE49-F238E27FC236}">
                  <a16:creationId xmlns:a16="http://schemas.microsoft.com/office/drawing/2014/main" id="{BAD1C67C-6421-E448-ACF2-EF118C6873C9}"/>
                </a:ext>
              </a:extLst>
            </p:cNvPr>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60" name="Text Placeholder 3">
            <a:extLst>
              <a:ext uri="{FF2B5EF4-FFF2-40B4-BE49-F238E27FC236}">
                <a16:creationId xmlns:a16="http://schemas.microsoft.com/office/drawing/2014/main" id="{D5B36F9C-4C2A-2247-96F8-E9204F482A71}"/>
              </a:ext>
            </a:extLst>
          </p:cNvPr>
          <p:cNvSpPr txBox="1">
            <a:spLocks/>
          </p:cNvSpPr>
          <p:nvPr/>
        </p:nvSpPr>
        <p:spPr bwMode="gray">
          <a:xfrm>
            <a:off x="9542989" y="3147021"/>
            <a:ext cx="1898652" cy="2000548"/>
          </a:xfrm>
          <a:prstGeom prst="rect">
            <a:avLst/>
          </a:prstGeom>
        </p:spPr>
        <p:txBody>
          <a:bodyPr vert="horz" wrap="square" lIns="0" tIns="0" rIns="0" bIns="0" rtlCol="0">
            <a:spAutoFit/>
          </a:bodyPr>
          <a:lstStyle/>
          <a:p>
            <a:pPr marL="85725" marR="0" lvl="1" indent="-8572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This is dummy text it is not here to be read. The is just text to show where you could insert text. </a:t>
            </a:r>
          </a:p>
          <a:p>
            <a:pPr marL="85725" marR="0" lvl="1" indent="-8572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a:p>
            <a:pPr marL="85725" marR="0" lvl="1" indent="-8572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The is just to show where you could insert text. </a:t>
            </a:r>
          </a:p>
          <a:p>
            <a:pPr marL="85725" marR="0" lvl="1" indent="-8572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a:p>
            <a:pPr marL="85725" marR="0" lvl="1" indent="-85725"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Please replace with your text content here.</a:t>
            </a:r>
          </a:p>
        </p:txBody>
      </p:sp>
      <p:sp>
        <p:nvSpPr>
          <p:cNvPr id="161" name="Snip Diagonal Corner Rectangle 160">
            <a:extLst>
              <a:ext uri="{FF2B5EF4-FFF2-40B4-BE49-F238E27FC236}">
                <a16:creationId xmlns:a16="http://schemas.microsoft.com/office/drawing/2014/main" id="{45D4FCE7-9EDB-884E-A1D4-E343B1191034}"/>
              </a:ext>
            </a:extLst>
          </p:cNvPr>
          <p:cNvSpPr/>
          <p:nvPr/>
        </p:nvSpPr>
        <p:spPr bwMode="gray">
          <a:xfrm>
            <a:off x="9311216" y="2402844"/>
            <a:ext cx="2373307" cy="585952"/>
          </a:xfrm>
          <a:prstGeom prst="snip2DiagRect">
            <a:avLst>
              <a:gd name="adj1" fmla="val 0"/>
              <a:gd name="adj2" fmla="val 37880"/>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Calibri"/>
                <a:ea typeface="+mn-ea"/>
                <a:cs typeface="+mn-cs"/>
              </a:rPr>
              <a:t>Lorem ipsum dolor </a:t>
            </a:r>
          </a:p>
        </p:txBody>
      </p:sp>
      <p:sp>
        <p:nvSpPr>
          <p:cNvPr id="171" name="Isosceles Triangle 18">
            <a:extLst>
              <a:ext uri="{FF2B5EF4-FFF2-40B4-BE49-F238E27FC236}">
                <a16:creationId xmlns:a16="http://schemas.microsoft.com/office/drawing/2014/main" id="{06936C08-8084-CA4C-8837-B2E99372E847}"/>
              </a:ext>
            </a:extLst>
          </p:cNvPr>
          <p:cNvSpPr/>
          <p:nvPr/>
        </p:nvSpPr>
        <p:spPr bwMode="gray">
          <a:xfrm>
            <a:off x="10130192" y="2067335"/>
            <a:ext cx="747389" cy="289082"/>
          </a:xfrm>
          <a:prstGeom prst="triangle">
            <a:avLst/>
          </a:prstGeom>
          <a:solidFill>
            <a:srgbClr val="D0D0CE"/>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a:ea typeface="+mn-ea"/>
              <a:cs typeface="+mn-cs"/>
            </a:endParaRPr>
          </a:p>
        </p:txBody>
      </p:sp>
      <p:sp>
        <p:nvSpPr>
          <p:cNvPr id="172" name="Oval 171">
            <a:extLst>
              <a:ext uri="{FF2B5EF4-FFF2-40B4-BE49-F238E27FC236}">
                <a16:creationId xmlns:a16="http://schemas.microsoft.com/office/drawing/2014/main" id="{04CAD3CB-FD82-8149-977C-919DC5EECE3A}"/>
              </a:ext>
            </a:extLst>
          </p:cNvPr>
          <p:cNvSpPr/>
          <p:nvPr/>
        </p:nvSpPr>
        <p:spPr bwMode="gray">
          <a:xfrm rot="5400000">
            <a:off x="9883352" y="1714500"/>
            <a:ext cx="648736" cy="648736"/>
          </a:xfrm>
          <a:prstGeom prst="ellipse">
            <a:avLst/>
          </a:prstGeom>
          <a:solidFill>
            <a:srgbClr val="43B02A"/>
          </a:solidFill>
          <a:ln w="38100" algn="ctr">
            <a:solidFill>
              <a:schemeClr val="bg1"/>
            </a:solidFill>
            <a:miter lim="800000"/>
            <a:headEnd/>
            <a:tailEnd/>
          </a:ln>
        </p:spPr>
        <p:txBody>
          <a:bodyPr wrap="square" lIns="66675" tIns="66675" rIns="66675" bIns="66675"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176" name="Straight Connector 175">
            <a:extLst>
              <a:ext uri="{FF2B5EF4-FFF2-40B4-BE49-F238E27FC236}">
                <a16:creationId xmlns:a16="http://schemas.microsoft.com/office/drawing/2014/main" id="{1FF3763B-7FAE-A342-8716-3C5F3D8FF3F8}"/>
              </a:ext>
            </a:extLst>
          </p:cNvPr>
          <p:cNvCxnSpPr/>
          <p:nvPr/>
        </p:nvCxnSpPr>
        <p:spPr>
          <a:xfrm>
            <a:off x="11679068" y="2981920"/>
            <a:ext cx="0" cy="2516799"/>
          </a:xfrm>
          <a:prstGeom prst="line">
            <a:avLst/>
          </a:prstGeom>
          <a:ln>
            <a:solidFill>
              <a:srgbClr val="43B02A"/>
            </a:solidFill>
            <a:tailEnd type="oval"/>
          </a:ln>
        </p:spPr>
        <p:style>
          <a:lnRef idx="1">
            <a:schemeClr val="accent1"/>
          </a:lnRef>
          <a:fillRef idx="0">
            <a:schemeClr val="accent1"/>
          </a:fillRef>
          <a:effectRef idx="0">
            <a:schemeClr val="accent1"/>
          </a:effectRef>
          <a:fontRef idx="minor">
            <a:schemeClr val="tx1"/>
          </a:fontRef>
        </p:style>
      </p:cxnSp>
      <p:grpSp>
        <p:nvGrpSpPr>
          <p:cNvPr id="180" name="Group 913">
            <a:extLst>
              <a:ext uri="{FF2B5EF4-FFF2-40B4-BE49-F238E27FC236}">
                <a16:creationId xmlns:a16="http://schemas.microsoft.com/office/drawing/2014/main" id="{C303ABA6-4F0A-004A-8A9E-3BDFE34DA146}"/>
              </a:ext>
            </a:extLst>
          </p:cNvPr>
          <p:cNvGrpSpPr>
            <a:grpSpLocks noChangeAspect="1"/>
          </p:cNvGrpSpPr>
          <p:nvPr/>
        </p:nvGrpSpPr>
        <p:grpSpPr bwMode="auto">
          <a:xfrm>
            <a:off x="9962227" y="1795675"/>
            <a:ext cx="490985" cy="490985"/>
            <a:chOff x="4563" y="3912"/>
            <a:chExt cx="340" cy="340"/>
          </a:xfrm>
          <a:solidFill>
            <a:schemeClr val="bg1"/>
          </a:solidFill>
        </p:grpSpPr>
        <p:sp>
          <p:nvSpPr>
            <p:cNvPr id="181" name="Freeform 914">
              <a:extLst>
                <a:ext uri="{FF2B5EF4-FFF2-40B4-BE49-F238E27FC236}">
                  <a16:creationId xmlns:a16="http://schemas.microsoft.com/office/drawing/2014/main" id="{81DCB391-FBCE-104F-B567-E78DAC97819F}"/>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182" name="Freeform 915">
              <a:extLst>
                <a:ext uri="{FF2B5EF4-FFF2-40B4-BE49-F238E27FC236}">
                  <a16:creationId xmlns:a16="http://schemas.microsoft.com/office/drawing/2014/main" id="{A4951A52-8E43-6349-AB47-6FD6FA5D72C9}"/>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4" name="Title 2">
            <a:extLst>
              <a:ext uri="{FF2B5EF4-FFF2-40B4-BE49-F238E27FC236}">
                <a16:creationId xmlns:a16="http://schemas.microsoft.com/office/drawing/2014/main" id="{9394342E-0DC4-4441-B465-1267C36443F0}"/>
              </a:ext>
            </a:extLst>
          </p:cNvPr>
          <p:cNvSpPr txBox="1">
            <a:spLocks/>
          </p:cNvSpPr>
          <p:nvPr/>
        </p:nvSpPr>
        <p:spPr>
          <a:xfrm>
            <a:off x="501650" y="317500"/>
            <a:ext cx="11188700" cy="334099"/>
          </a:xfrm>
          <a:prstGeom prst="rect">
            <a:avLst/>
          </a:prstGeom>
        </p:spPr>
        <p:txBody>
          <a:bodyPr/>
          <a:lst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US" sz="2100" b="0"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Recommendations</a:t>
            </a:r>
          </a:p>
        </p:txBody>
      </p:sp>
    </p:spTree>
    <p:extLst>
      <p:ext uri="{BB962C8B-B14F-4D97-AF65-F5344CB8AC3E}">
        <p14:creationId xmlns:p14="http://schemas.microsoft.com/office/powerpoint/2010/main" val="31098910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a:extLst>
              <a:ext uri="{FF2B5EF4-FFF2-40B4-BE49-F238E27FC236}">
                <a16:creationId xmlns:a16="http://schemas.microsoft.com/office/drawing/2014/main" id="{CF553C54-980C-D24C-9D6E-1C1408361D0A}"/>
              </a:ext>
            </a:extLst>
          </p:cNvPr>
          <p:cNvSpPr>
            <a:spLocks noGrp="1"/>
          </p:cNvSpPr>
          <p:nvPr>
            <p:ph type="title"/>
          </p:nvPr>
        </p:nvSpPr>
        <p:spPr/>
        <p:txBody>
          <a:bodyPr/>
          <a:lstStyle/>
          <a:p>
            <a:r>
              <a:rPr lang="en-US" dirty="0"/>
              <a:t>Next Steps</a:t>
            </a:r>
          </a:p>
        </p:txBody>
      </p:sp>
      <p:grpSp>
        <p:nvGrpSpPr>
          <p:cNvPr id="4" name="Group 3"/>
          <p:cNvGrpSpPr/>
          <p:nvPr/>
        </p:nvGrpSpPr>
        <p:grpSpPr>
          <a:xfrm>
            <a:off x="1524000" y="1026371"/>
            <a:ext cx="9144000" cy="4805258"/>
            <a:chOff x="0" y="1287390"/>
            <a:chExt cx="9144000" cy="4805258"/>
          </a:xfrm>
        </p:grpSpPr>
        <p:sp>
          <p:nvSpPr>
            <p:cNvPr id="5" name="Block Arc 4"/>
            <p:cNvSpPr/>
            <p:nvPr/>
          </p:nvSpPr>
          <p:spPr bwMode="gray">
            <a:xfrm>
              <a:off x="2490710" y="1371211"/>
              <a:ext cx="1558678" cy="1558679"/>
            </a:xfrm>
            <a:prstGeom prst="blockArc">
              <a:avLst>
                <a:gd name="adj1" fmla="val 10823994"/>
                <a:gd name="adj2" fmla="val 5529932"/>
                <a:gd name="adj3" fmla="val 14080"/>
              </a:avLst>
            </a:prstGeom>
            <a:solidFill>
              <a:schemeClr val="accent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6" name="Rounded Rectangle 5"/>
            <p:cNvSpPr/>
            <p:nvPr/>
          </p:nvSpPr>
          <p:spPr bwMode="gray">
            <a:xfrm>
              <a:off x="3303118" y="1764027"/>
              <a:ext cx="2784482" cy="773047"/>
            </a:xfrm>
            <a:prstGeom prst="roundRect">
              <a:avLst>
                <a:gd name="adj" fmla="val 50000"/>
              </a:avLst>
            </a:prstGeom>
            <a:solidFill>
              <a:schemeClr val="bg1">
                <a:lumMod val="95000"/>
              </a:schemeClr>
            </a:solidFill>
            <a:ln w="9525" algn="ctr">
              <a:solidFill>
                <a:schemeClr val="accent4"/>
              </a:solidFill>
              <a:miter lim="800000"/>
              <a:headEnd/>
              <a:tailEnd/>
            </a:ln>
          </p:spPr>
          <p:txBody>
            <a:bodyPr wrap="square" lIns="457200" tIns="88900" rIns="88900" bIns="889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Times New Roman" pitchFamily="18" charset="0"/>
                </a:rPr>
                <a:t>Insert text he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This is dummy text</a:t>
              </a:r>
            </a:p>
          </p:txBody>
        </p:sp>
        <p:sp>
          <p:nvSpPr>
            <p:cNvPr id="7" name="Oval 6"/>
            <p:cNvSpPr/>
            <p:nvPr/>
          </p:nvSpPr>
          <p:spPr bwMode="gray">
            <a:xfrm>
              <a:off x="2708208" y="1588710"/>
              <a:ext cx="1123683" cy="1123681"/>
            </a:xfrm>
            <a:prstGeom prst="ellipse">
              <a:avLst/>
            </a:prstGeom>
            <a:solidFill>
              <a:schemeClr val="bg1"/>
            </a:solidFill>
            <a:ln w="9525" algn="ctr">
              <a:solidFill>
                <a:schemeClr val="accent4"/>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8" name="Oval 7"/>
            <p:cNvSpPr/>
            <p:nvPr/>
          </p:nvSpPr>
          <p:spPr bwMode="gray">
            <a:xfrm>
              <a:off x="2870125" y="1750626"/>
              <a:ext cx="799848" cy="799848"/>
            </a:xfrm>
            <a:prstGeom prst="ellipse">
              <a:avLst/>
            </a:prstGeom>
            <a:solidFill>
              <a:schemeClr val="accent1">
                <a:lumMod val="20000"/>
                <a:lumOff val="80000"/>
              </a:schemeClr>
            </a:solidFill>
            <a:ln w="9525" algn="ctr">
              <a:solidFill>
                <a:schemeClr val="accent4"/>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dirty="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dirty="0">
                  <a:ln>
                    <a:noFill/>
                  </a:ln>
                  <a:solidFill>
                    <a:prstClr val="black"/>
                  </a:solidFill>
                  <a:effectLst/>
                  <a:uLnTx/>
                  <a:uFillTx/>
                  <a:latin typeface="Calibri Light"/>
                  <a:ea typeface="+mn-ea"/>
                  <a:cs typeface="+mn-cs"/>
                </a:rPr>
                <a:t>01</a:t>
              </a:r>
            </a:p>
          </p:txBody>
        </p:sp>
        <p:sp>
          <p:nvSpPr>
            <p:cNvPr id="9" name="Block Arc 8"/>
            <p:cNvSpPr/>
            <p:nvPr/>
          </p:nvSpPr>
          <p:spPr bwMode="gray">
            <a:xfrm>
              <a:off x="2490710" y="2715184"/>
              <a:ext cx="1558679" cy="1558679"/>
            </a:xfrm>
            <a:prstGeom prst="blockArc">
              <a:avLst>
                <a:gd name="adj1" fmla="val 10296"/>
                <a:gd name="adj2" fmla="val 16171692"/>
                <a:gd name="adj3" fmla="val 13840"/>
              </a:avLst>
            </a:prstGeom>
            <a:solidFill>
              <a:schemeClr val="accent2"/>
            </a:solidFill>
            <a:ln w="19050"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0" name="Rounded Rectangle 9"/>
            <p:cNvSpPr/>
            <p:nvPr/>
          </p:nvSpPr>
          <p:spPr bwMode="gray">
            <a:xfrm>
              <a:off x="392724" y="3108000"/>
              <a:ext cx="2784482" cy="773047"/>
            </a:xfrm>
            <a:prstGeom prst="roundRect">
              <a:avLst>
                <a:gd name="adj" fmla="val 50000"/>
              </a:avLst>
            </a:prstGeom>
            <a:solidFill>
              <a:schemeClr val="bg1">
                <a:lumMod val="95000"/>
              </a:schemeClr>
            </a:solidFill>
            <a:ln w="9525" algn="ctr">
              <a:solidFill>
                <a:schemeClr val="accent4"/>
              </a:solidFill>
              <a:miter lim="800000"/>
              <a:headEnd/>
              <a:tailEnd/>
            </a:ln>
          </p:spPr>
          <p:txBody>
            <a:bodyPr wrap="square" lIns="91440" tIns="88900" rIns="274320" bIns="889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Times New Roman" pitchFamily="18" charset="0"/>
                </a:rPr>
                <a:t>Insert text he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This is dummy text</a:t>
              </a:r>
            </a:p>
          </p:txBody>
        </p:sp>
        <p:sp>
          <p:nvSpPr>
            <p:cNvPr id="11" name="Oval 10"/>
            <p:cNvSpPr/>
            <p:nvPr/>
          </p:nvSpPr>
          <p:spPr bwMode="gray">
            <a:xfrm>
              <a:off x="2708209" y="2932683"/>
              <a:ext cx="1123683" cy="1123681"/>
            </a:xfrm>
            <a:prstGeom prst="ellipse">
              <a:avLst/>
            </a:prstGeom>
            <a:solidFill>
              <a:schemeClr val="bg1"/>
            </a:solidFill>
            <a:ln w="9525" algn="ctr">
              <a:solidFill>
                <a:schemeClr val="accent4"/>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12" name="Oval 11"/>
            <p:cNvSpPr/>
            <p:nvPr/>
          </p:nvSpPr>
          <p:spPr bwMode="gray">
            <a:xfrm>
              <a:off x="2870125" y="3094599"/>
              <a:ext cx="799848" cy="799848"/>
            </a:xfrm>
            <a:prstGeom prst="ellipse">
              <a:avLst/>
            </a:prstGeom>
            <a:solidFill>
              <a:schemeClr val="accent2">
                <a:lumMod val="20000"/>
                <a:lumOff val="80000"/>
              </a:schemeClr>
            </a:solidFill>
            <a:ln w="9525" algn="ctr">
              <a:solidFill>
                <a:schemeClr val="accent4"/>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dirty="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dirty="0">
                  <a:ln>
                    <a:noFill/>
                  </a:ln>
                  <a:solidFill>
                    <a:prstClr val="black"/>
                  </a:solidFill>
                  <a:effectLst/>
                  <a:uLnTx/>
                  <a:uFillTx/>
                  <a:latin typeface="Calibri Light"/>
                  <a:ea typeface="+mn-ea"/>
                  <a:cs typeface="+mn-cs"/>
                </a:rPr>
                <a:t>02</a:t>
              </a:r>
            </a:p>
          </p:txBody>
        </p:sp>
        <p:sp>
          <p:nvSpPr>
            <p:cNvPr id="13" name="Block Arc 12"/>
            <p:cNvSpPr/>
            <p:nvPr/>
          </p:nvSpPr>
          <p:spPr bwMode="gray">
            <a:xfrm>
              <a:off x="3831456" y="2723442"/>
              <a:ext cx="1558678" cy="1558679"/>
            </a:xfrm>
            <a:prstGeom prst="blockArc">
              <a:avLst>
                <a:gd name="adj1" fmla="val 10823994"/>
                <a:gd name="adj2" fmla="val 5529932"/>
                <a:gd name="adj3" fmla="val 14080"/>
              </a:avLst>
            </a:prstGeom>
            <a:solidFill>
              <a:srgbClr val="009A44"/>
            </a:solidFill>
            <a:ln w="19050" algn="ctr">
              <a:solidFill>
                <a:srgbClr val="009A4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4" name="Rounded Rectangle 13"/>
            <p:cNvSpPr/>
            <p:nvPr/>
          </p:nvSpPr>
          <p:spPr bwMode="gray">
            <a:xfrm>
              <a:off x="4643863" y="3116258"/>
              <a:ext cx="2784482" cy="773047"/>
            </a:xfrm>
            <a:prstGeom prst="roundRect">
              <a:avLst>
                <a:gd name="adj" fmla="val 50000"/>
              </a:avLst>
            </a:prstGeom>
            <a:solidFill>
              <a:schemeClr val="bg1">
                <a:lumMod val="95000"/>
              </a:schemeClr>
            </a:solidFill>
            <a:ln w="9525" algn="ctr">
              <a:solidFill>
                <a:schemeClr val="accent4"/>
              </a:solidFill>
              <a:miter lim="800000"/>
              <a:headEnd/>
              <a:tailEnd/>
            </a:ln>
          </p:spPr>
          <p:txBody>
            <a:bodyPr wrap="square" lIns="4572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This is dummy text</a:t>
              </a:r>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5" name="Oval 14"/>
            <p:cNvSpPr/>
            <p:nvPr/>
          </p:nvSpPr>
          <p:spPr bwMode="gray">
            <a:xfrm>
              <a:off x="4048954" y="2940941"/>
              <a:ext cx="1123683" cy="1123681"/>
            </a:xfrm>
            <a:prstGeom prst="ellipse">
              <a:avLst/>
            </a:prstGeom>
            <a:solidFill>
              <a:schemeClr val="bg1"/>
            </a:solidFill>
            <a:ln w="9525" algn="ctr">
              <a:solidFill>
                <a:schemeClr val="accent4"/>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16" name="Oval 15"/>
            <p:cNvSpPr/>
            <p:nvPr/>
          </p:nvSpPr>
          <p:spPr bwMode="gray">
            <a:xfrm>
              <a:off x="4210871" y="3102857"/>
              <a:ext cx="799848" cy="799848"/>
            </a:xfrm>
            <a:prstGeom prst="ellipse">
              <a:avLst/>
            </a:prstGeom>
            <a:solidFill>
              <a:srgbClr val="DDEFE8"/>
            </a:solidFill>
            <a:ln w="9525" algn="ctr">
              <a:solidFill>
                <a:schemeClr val="accent4"/>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a:ln>
                    <a:noFill/>
                  </a:ln>
                  <a:solidFill>
                    <a:prstClr val="black"/>
                  </a:solidFill>
                  <a:effectLst/>
                  <a:uLnTx/>
                  <a:uFillTx/>
                  <a:latin typeface="Calibri Light"/>
                  <a:ea typeface="+mn-ea"/>
                  <a:cs typeface="+mn-cs"/>
                </a:rPr>
                <a:t>03</a:t>
              </a:r>
            </a:p>
          </p:txBody>
        </p:sp>
        <p:sp>
          <p:nvSpPr>
            <p:cNvPr id="17" name="Block Arc 16"/>
            <p:cNvSpPr/>
            <p:nvPr/>
          </p:nvSpPr>
          <p:spPr bwMode="gray">
            <a:xfrm>
              <a:off x="3830898" y="4064619"/>
              <a:ext cx="1558679" cy="1558679"/>
            </a:xfrm>
            <a:prstGeom prst="blockArc">
              <a:avLst>
                <a:gd name="adj1" fmla="val 10296"/>
                <a:gd name="adj2" fmla="val 16171692"/>
                <a:gd name="adj3" fmla="val 13840"/>
              </a:avLst>
            </a:prstGeom>
            <a:solidFill>
              <a:schemeClr val="accent4"/>
            </a:solidFill>
            <a:ln w="19050" algn="ctr">
              <a:solidFill>
                <a:schemeClr val="accent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8" name="Rounded Rectangle 17"/>
            <p:cNvSpPr/>
            <p:nvPr/>
          </p:nvSpPr>
          <p:spPr bwMode="gray">
            <a:xfrm>
              <a:off x="1732912" y="4457435"/>
              <a:ext cx="2784482" cy="773047"/>
            </a:xfrm>
            <a:prstGeom prst="roundRect">
              <a:avLst>
                <a:gd name="adj" fmla="val 50000"/>
              </a:avLst>
            </a:prstGeom>
            <a:solidFill>
              <a:schemeClr val="bg1">
                <a:lumMod val="95000"/>
              </a:schemeClr>
            </a:solidFill>
            <a:ln w="9525" algn="ctr">
              <a:solidFill>
                <a:schemeClr val="accent4"/>
              </a:solidFill>
              <a:miter lim="800000"/>
              <a:headEnd/>
              <a:tailEnd/>
            </a:ln>
          </p:spPr>
          <p:txBody>
            <a:bodyPr wrap="square" lIns="91440" tIns="88900" rIns="36576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This is dummy text</a:t>
              </a:r>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9" name="Oval 18"/>
            <p:cNvSpPr/>
            <p:nvPr/>
          </p:nvSpPr>
          <p:spPr bwMode="gray">
            <a:xfrm>
              <a:off x="4048397" y="4282118"/>
              <a:ext cx="1123683" cy="1123681"/>
            </a:xfrm>
            <a:prstGeom prst="ellipse">
              <a:avLst/>
            </a:prstGeom>
            <a:solidFill>
              <a:schemeClr val="bg1"/>
            </a:solidFill>
            <a:ln w="9525" algn="ctr">
              <a:solidFill>
                <a:schemeClr val="accent4"/>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20" name="Oval 19"/>
            <p:cNvSpPr/>
            <p:nvPr/>
          </p:nvSpPr>
          <p:spPr bwMode="gray">
            <a:xfrm>
              <a:off x="4210313" y="4444034"/>
              <a:ext cx="799848" cy="799848"/>
            </a:xfrm>
            <a:prstGeom prst="ellipse">
              <a:avLst/>
            </a:prstGeom>
            <a:solidFill>
              <a:srgbClr val="DCF0E4"/>
            </a:solidFill>
            <a:ln w="9525" algn="ctr">
              <a:solidFill>
                <a:schemeClr val="accent4"/>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a:ln>
                    <a:noFill/>
                  </a:ln>
                  <a:solidFill>
                    <a:prstClr val="black"/>
                  </a:solidFill>
                  <a:effectLst/>
                  <a:uLnTx/>
                  <a:uFillTx/>
                  <a:latin typeface="Calibri Light"/>
                  <a:ea typeface="+mn-ea"/>
                  <a:cs typeface="+mn-cs"/>
                </a:rPr>
                <a:t>04</a:t>
              </a:r>
            </a:p>
          </p:txBody>
        </p:sp>
        <p:sp>
          <p:nvSpPr>
            <p:cNvPr id="21" name="Block Arc 20"/>
            <p:cNvSpPr/>
            <p:nvPr/>
          </p:nvSpPr>
          <p:spPr bwMode="gray">
            <a:xfrm>
              <a:off x="5170873" y="4084493"/>
              <a:ext cx="1558678" cy="1558679"/>
            </a:xfrm>
            <a:prstGeom prst="blockArc">
              <a:avLst>
                <a:gd name="adj1" fmla="val 10823994"/>
                <a:gd name="adj2" fmla="val 5529932"/>
                <a:gd name="adj3" fmla="val 14080"/>
              </a:avLst>
            </a:prstGeom>
            <a:solidFill>
              <a:schemeClr val="accent5"/>
            </a:solidFill>
            <a:ln w="19050" algn="ctr">
              <a:solidFill>
                <a:srgbClr val="0D839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2" name="Rounded Rectangle 21"/>
            <p:cNvSpPr/>
            <p:nvPr/>
          </p:nvSpPr>
          <p:spPr bwMode="gray">
            <a:xfrm>
              <a:off x="5983281" y="4477309"/>
              <a:ext cx="2784482" cy="773047"/>
            </a:xfrm>
            <a:prstGeom prst="roundRect">
              <a:avLst>
                <a:gd name="adj" fmla="val 50000"/>
              </a:avLst>
            </a:prstGeom>
            <a:solidFill>
              <a:schemeClr val="bg1">
                <a:lumMod val="95000"/>
              </a:schemeClr>
            </a:solidFill>
            <a:ln w="9525" algn="ctr">
              <a:solidFill>
                <a:srgbClr val="0D8390"/>
              </a:solidFill>
              <a:miter lim="800000"/>
              <a:headEnd/>
              <a:tailEnd/>
            </a:ln>
          </p:spPr>
          <p:txBody>
            <a:bodyPr wrap="square" lIns="4572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This is dummy text</a:t>
              </a:r>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3" name="Oval 22"/>
            <p:cNvSpPr/>
            <p:nvPr/>
          </p:nvSpPr>
          <p:spPr bwMode="gray">
            <a:xfrm>
              <a:off x="5388371" y="4301992"/>
              <a:ext cx="1123683" cy="1123681"/>
            </a:xfrm>
            <a:prstGeom prst="ellipse">
              <a:avLst/>
            </a:prstGeom>
            <a:solidFill>
              <a:schemeClr val="bg1"/>
            </a:solidFill>
            <a:ln w="9525" algn="ctr">
              <a:solidFill>
                <a:schemeClr val="accent4"/>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Oval 23"/>
            <p:cNvSpPr/>
            <p:nvPr/>
          </p:nvSpPr>
          <p:spPr bwMode="gray">
            <a:xfrm>
              <a:off x="5550288" y="4463908"/>
              <a:ext cx="799848" cy="799848"/>
            </a:xfrm>
            <a:prstGeom prst="ellipse">
              <a:avLst/>
            </a:prstGeom>
            <a:solidFill>
              <a:srgbClr val="DDEFE8"/>
            </a:solidFill>
            <a:ln w="9525" algn="ctr">
              <a:solidFill>
                <a:schemeClr val="accent4"/>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a:ln>
                    <a:noFill/>
                  </a:ln>
                  <a:solidFill>
                    <a:prstClr val="black"/>
                  </a:solidFill>
                  <a:effectLst/>
                  <a:uLnTx/>
                  <a:uFillTx/>
                  <a:latin typeface="Calibri Light"/>
                  <a:ea typeface="+mn-ea"/>
                  <a:cs typeface="+mn-cs"/>
                </a:rPr>
                <a:t>05</a:t>
              </a:r>
            </a:p>
          </p:txBody>
        </p:sp>
        <p:sp>
          <p:nvSpPr>
            <p:cNvPr id="25" name="Rounded Rectangle 24"/>
            <p:cNvSpPr/>
            <p:nvPr/>
          </p:nvSpPr>
          <p:spPr bwMode="gray">
            <a:xfrm>
              <a:off x="0" y="2262188"/>
              <a:ext cx="2377691" cy="216487"/>
            </a:xfrm>
            <a:prstGeom prst="roundRect">
              <a:avLst>
                <a:gd name="adj" fmla="val 0"/>
              </a:avLst>
            </a:prstGeom>
            <a:solidFill>
              <a:schemeClr val="accent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6" name="Block Arc 25"/>
            <p:cNvSpPr/>
            <p:nvPr/>
          </p:nvSpPr>
          <p:spPr bwMode="gray">
            <a:xfrm>
              <a:off x="2047175" y="1820034"/>
              <a:ext cx="661032" cy="661032"/>
            </a:xfrm>
            <a:prstGeom prst="blockArc">
              <a:avLst>
                <a:gd name="adj1" fmla="val 21381499"/>
                <a:gd name="adj2" fmla="val 5466996"/>
                <a:gd name="adj3" fmla="val 33084"/>
              </a:avLst>
            </a:prstGeom>
            <a:solidFill>
              <a:schemeClr val="accent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7" name="Rounded Rectangle 26"/>
            <p:cNvSpPr/>
            <p:nvPr/>
          </p:nvSpPr>
          <p:spPr bwMode="gray">
            <a:xfrm>
              <a:off x="5901264" y="5876161"/>
              <a:ext cx="3236912" cy="216487"/>
            </a:xfrm>
            <a:prstGeom prst="roundRect">
              <a:avLst>
                <a:gd name="adj" fmla="val 0"/>
              </a:avLst>
            </a:prstGeom>
            <a:solidFill>
              <a:schemeClr val="accent5"/>
            </a:solidFill>
            <a:ln w="19050" algn="ctr">
              <a:solidFill>
                <a:srgbClr val="0D839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8" name="Block Arc 27"/>
            <p:cNvSpPr/>
            <p:nvPr/>
          </p:nvSpPr>
          <p:spPr bwMode="gray">
            <a:xfrm>
              <a:off x="5566697" y="5425792"/>
              <a:ext cx="661032" cy="661032"/>
            </a:xfrm>
            <a:prstGeom prst="blockArc">
              <a:avLst>
                <a:gd name="adj1" fmla="val 5256614"/>
                <a:gd name="adj2" fmla="val 17132510"/>
                <a:gd name="adj3" fmla="val 32408"/>
              </a:avLst>
            </a:prstGeom>
            <a:solidFill>
              <a:schemeClr val="accent5"/>
            </a:solidFill>
            <a:ln w="19050" algn="ctr">
              <a:solidFill>
                <a:srgbClr val="0D839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9" name="Freeform 28"/>
            <p:cNvSpPr>
              <a:spLocks noEditPoints="1"/>
            </p:cNvSpPr>
            <p:nvPr/>
          </p:nvSpPr>
          <p:spPr bwMode="auto">
            <a:xfrm>
              <a:off x="5291781" y="1317316"/>
              <a:ext cx="316919" cy="269381"/>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chemeClr val="accent1"/>
            </a:solid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0" name="Freeform 464"/>
            <p:cNvSpPr>
              <a:spLocks noEditPoints="1"/>
            </p:cNvSpPr>
            <p:nvPr/>
          </p:nvSpPr>
          <p:spPr bwMode="auto">
            <a:xfrm>
              <a:off x="1101055" y="4776414"/>
              <a:ext cx="338511" cy="135087"/>
            </a:xfrm>
            <a:custGeom>
              <a:avLst/>
              <a:gdLst>
                <a:gd name="T0" fmla="*/ 309 w 320"/>
                <a:gd name="T1" fmla="*/ 53 h 128"/>
                <a:gd name="T2" fmla="*/ 127 w 320"/>
                <a:gd name="T3" fmla="*/ 53 h 128"/>
                <a:gd name="T4" fmla="*/ 64 w 320"/>
                <a:gd name="T5" fmla="*/ 0 h 128"/>
                <a:gd name="T6" fmla="*/ 0 w 320"/>
                <a:gd name="T7" fmla="*/ 64 h 128"/>
                <a:gd name="T8" fmla="*/ 64 w 320"/>
                <a:gd name="T9" fmla="*/ 128 h 128"/>
                <a:gd name="T10" fmla="*/ 127 w 320"/>
                <a:gd name="T11" fmla="*/ 74 h 128"/>
                <a:gd name="T12" fmla="*/ 256 w 320"/>
                <a:gd name="T13" fmla="*/ 74 h 128"/>
                <a:gd name="T14" fmla="*/ 256 w 320"/>
                <a:gd name="T15" fmla="*/ 96 h 128"/>
                <a:gd name="T16" fmla="*/ 266 w 320"/>
                <a:gd name="T17" fmla="*/ 106 h 128"/>
                <a:gd name="T18" fmla="*/ 277 w 320"/>
                <a:gd name="T19" fmla="*/ 96 h 128"/>
                <a:gd name="T20" fmla="*/ 277 w 320"/>
                <a:gd name="T21" fmla="*/ 74 h 128"/>
                <a:gd name="T22" fmla="*/ 298 w 320"/>
                <a:gd name="T23" fmla="*/ 74 h 128"/>
                <a:gd name="T24" fmla="*/ 298 w 320"/>
                <a:gd name="T25" fmla="*/ 117 h 128"/>
                <a:gd name="T26" fmla="*/ 309 w 320"/>
                <a:gd name="T27" fmla="*/ 128 h 128"/>
                <a:gd name="T28" fmla="*/ 320 w 320"/>
                <a:gd name="T29" fmla="*/ 117 h 128"/>
                <a:gd name="T30" fmla="*/ 320 w 320"/>
                <a:gd name="T31" fmla="*/ 64 h 128"/>
                <a:gd name="T32" fmla="*/ 309 w 320"/>
                <a:gd name="T33" fmla="*/ 53 h 128"/>
                <a:gd name="T34" fmla="*/ 64 w 320"/>
                <a:gd name="T35" fmla="*/ 106 h 128"/>
                <a:gd name="T36" fmla="*/ 21 w 320"/>
                <a:gd name="T37" fmla="*/ 64 h 128"/>
                <a:gd name="T38" fmla="*/ 64 w 320"/>
                <a:gd name="T39" fmla="*/ 21 h 128"/>
                <a:gd name="T40" fmla="*/ 106 w 320"/>
                <a:gd name="T41" fmla="*/ 64 h 128"/>
                <a:gd name="T42" fmla="*/ 64 w 320"/>
                <a:gd name="T43"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128">
                  <a:moveTo>
                    <a:pt x="309" y="53"/>
                  </a:moveTo>
                  <a:cubicBezTo>
                    <a:pt x="127" y="53"/>
                    <a:pt x="127" y="53"/>
                    <a:pt x="127" y="53"/>
                  </a:cubicBezTo>
                  <a:cubicBezTo>
                    <a:pt x="122" y="23"/>
                    <a:pt x="95" y="0"/>
                    <a:pt x="64" y="0"/>
                  </a:cubicBezTo>
                  <a:cubicBezTo>
                    <a:pt x="28" y="0"/>
                    <a:pt x="0" y="28"/>
                    <a:pt x="0" y="64"/>
                  </a:cubicBezTo>
                  <a:cubicBezTo>
                    <a:pt x="0" y="99"/>
                    <a:pt x="28" y="128"/>
                    <a:pt x="64" y="128"/>
                  </a:cubicBezTo>
                  <a:cubicBezTo>
                    <a:pt x="95" y="128"/>
                    <a:pt x="122" y="105"/>
                    <a:pt x="127" y="74"/>
                  </a:cubicBezTo>
                  <a:cubicBezTo>
                    <a:pt x="256" y="74"/>
                    <a:pt x="256" y="74"/>
                    <a:pt x="256" y="74"/>
                  </a:cubicBezTo>
                  <a:cubicBezTo>
                    <a:pt x="256" y="96"/>
                    <a:pt x="256" y="96"/>
                    <a:pt x="256" y="96"/>
                  </a:cubicBezTo>
                  <a:cubicBezTo>
                    <a:pt x="256" y="102"/>
                    <a:pt x="260" y="106"/>
                    <a:pt x="266" y="106"/>
                  </a:cubicBezTo>
                  <a:cubicBezTo>
                    <a:pt x="272" y="106"/>
                    <a:pt x="277" y="102"/>
                    <a:pt x="277" y="96"/>
                  </a:cubicBezTo>
                  <a:cubicBezTo>
                    <a:pt x="277" y="74"/>
                    <a:pt x="277" y="74"/>
                    <a:pt x="277" y="74"/>
                  </a:cubicBezTo>
                  <a:cubicBezTo>
                    <a:pt x="298" y="74"/>
                    <a:pt x="298" y="74"/>
                    <a:pt x="298" y="74"/>
                  </a:cubicBezTo>
                  <a:cubicBezTo>
                    <a:pt x="298" y="117"/>
                    <a:pt x="298" y="117"/>
                    <a:pt x="298" y="117"/>
                  </a:cubicBezTo>
                  <a:cubicBezTo>
                    <a:pt x="298" y="123"/>
                    <a:pt x="303" y="128"/>
                    <a:pt x="309" y="128"/>
                  </a:cubicBezTo>
                  <a:cubicBezTo>
                    <a:pt x="315" y="128"/>
                    <a:pt x="320" y="123"/>
                    <a:pt x="320" y="117"/>
                  </a:cubicBezTo>
                  <a:cubicBezTo>
                    <a:pt x="320" y="64"/>
                    <a:pt x="320" y="64"/>
                    <a:pt x="320" y="64"/>
                  </a:cubicBezTo>
                  <a:cubicBezTo>
                    <a:pt x="320" y="58"/>
                    <a:pt x="315" y="53"/>
                    <a:pt x="309" y="53"/>
                  </a:cubicBezTo>
                  <a:close/>
                  <a:moveTo>
                    <a:pt x="64" y="106"/>
                  </a:moveTo>
                  <a:cubicBezTo>
                    <a:pt x="40" y="106"/>
                    <a:pt x="21" y="87"/>
                    <a:pt x="21" y="64"/>
                  </a:cubicBezTo>
                  <a:cubicBezTo>
                    <a:pt x="21" y="40"/>
                    <a:pt x="40" y="21"/>
                    <a:pt x="64" y="21"/>
                  </a:cubicBezTo>
                  <a:cubicBezTo>
                    <a:pt x="87" y="21"/>
                    <a:pt x="106" y="40"/>
                    <a:pt x="106" y="64"/>
                  </a:cubicBezTo>
                  <a:cubicBezTo>
                    <a:pt x="106" y="87"/>
                    <a:pt x="87" y="106"/>
                    <a:pt x="64" y="106"/>
                  </a:cubicBezTo>
                  <a:close/>
                </a:path>
              </a:pathLst>
            </a:custGeom>
            <a:solidFill>
              <a:srgbClr val="012169"/>
            </a:solid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1" name="Freeform 41"/>
            <p:cNvSpPr>
              <a:spLocks noEditPoints="1"/>
            </p:cNvSpPr>
            <p:nvPr/>
          </p:nvSpPr>
          <p:spPr bwMode="auto">
            <a:xfrm>
              <a:off x="7938843" y="3991955"/>
              <a:ext cx="341689" cy="340100"/>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solidFill>
              <a:schemeClr val="accent5"/>
            </a:solid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2" name="Freeform 872"/>
            <p:cNvSpPr>
              <a:spLocks noEditPoints="1"/>
            </p:cNvSpPr>
            <p:nvPr/>
          </p:nvSpPr>
          <p:spPr bwMode="auto">
            <a:xfrm>
              <a:off x="6583339" y="2637130"/>
              <a:ext cx="292423" cy="327386"/>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solidFill>
              <a:srgbClr val="009A44"/>
            </a:solid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3" name="Isosceles Triangle 32"/>
            <p:cNvSpPr/>
            <p:nvPr/>
          </p:nvSpPr>
          <p:spPr bwMode="gray">
            <a:xfrm>
              <a:off x="6627074" y="2995260"/>
              <a:ext cx="204952" cy="70944"/>
            </a:xfrm>
            <a:prstGeom prst="triangle">
              <a:avLst/>
            </a:prstGeom>
            <a:solidFill>
              <a:srgbClr val="A7A8AA"/>
            </a:solidFill>
            <a:ln w="19050" algn="ctr">
              <a:solidFill>
                <a:schemeClr val="accent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4" name="Isosceles Triangle 33"/>
            <p:cNvSpPr/>
            <p:nvPr/>
          </p:nvSpPr>
          <p:spPr bwMode="gray">
            <a:xfrm>
              <a:off x="8075580" y="4358435"/>
              <a:ext cx="204952" cy="70944"/>
            </a:xfrm>
            <a:prstGeom prst="triangle">
              <a:avLst/>
            </a:prstGeom>
            <a:solidFill>
              <a:srgbClr val="A7A8AA"/>
            </a:solidFill>
            <a:ln w="19050" algn="ctr">
              <a:solidFill>
                <a:schemeClr val="accent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5" name="Isosceles Triangle 34"/>
            <p:cNvSpPr/>
            <p:nvPr/>
          </p:nvSpPr>
          <p:spPr bwMode="gray">
            <a:xfrm rot="16200000">
              <a:off x="1507626" y="4808486"/>
              <a:ext cx="204952" cy="70944"/>
            </a:xfrm>
            <a:prstGeom prst="triangle">
              <a:avLst/>
            </a:prstGeom>
            <a:solidFill>
              <a:srgbClr val="A7A8AA"/>
            </a:solidFill>
            <a:ln w="19050" algn="ctr">
              <a:solidFill>
                <a:schemeClr val="accent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6" name="Isosceles Triangle 35"/>
            <p:cNvSpPr/>
            <p:nvPr/>
          </p:nvSpPr>
          <p:spPr bwMode="gray">
            <a:xfrm>
              <a:off x="850551" y="2995260"/>
              <a:ext cx="204952" cy="70944"/>
            </a:xfrm>
            <a:prstGeom prst="triangle">
              <a:avLst/>
            </a:prstGeom>
            <a:solidFill>
              <a:srgbClr val="A7A8AA"/>
            </a:solidFill>
            <a:ln w="19050" algn="ctr">
              <a:solidFill>
                <a:schemeClr val="accent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7" name="Isosceles Triangle 36"/>
            <p:cNvSpPr/>
            <p:nvPr/>
          </p:nvSpPr>
          <p:spPr bwMode="gray">
            <a:xfrm>
              <a:off x="5366843" y="1638167"/>
              <a:ext cx="204952" cy="70944"/>
            </a:xfrm>
            <a:prstGeom prst="triangle">
              <a:avLst/>
            </a:prstGeom>
            <a:solidFill>
              <a:srgbClr val="A7A8AA"/>
            </a:solidFill>
            <a:ln w="19050" algn="ctr">
              <a:solidFill>
                <a:schemeClr val="accent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8" name="Freeform 433"/>
            <p:cNvSpPr>
              <a:spLocks noEditPoints="1"/>
            </p:cNvSpPr>
            <p:nvPr/>
          </p:nvSpPr>
          <p:spPr bwMode="auto">
            <a:xfrm>
              <a:off x="748851" y="2538341"/>
              <a:ext cx="408351" cy="410278"/>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solidFill>
              <a:schemeClr val="accent2"/>
            </a:solid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9" name="Arc 38"/>
            <p:cNvSpPr/>
            <p:nvPr/>
          </p:nvSpPr>
          <p:spPr bwMode="gray">
            <a:xfrm>
              <a:off x="2400288" y="2665379"/>
              <a:ext cx="1714547" cy="1714547"/>
            </a:xfrm>
            <a:prstGeom prst="arc">
              <a:avLst>
                <a:gd name="adj1" fmla="val 476881"/>
                <a:gd name="adj2" fmla="val 8893727"/>
              </a:avLst>
            </a:prstGeom>
            <a:noFill/>
            <a:ln w="12700" algn="ctr">
              <a:solidFill>
                <a:schemeClr val="accent4"/>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0" name="Arc 39"/>
            <p:cNvSpPr/>
            <p:nvPr/>
          </p:nvSpPr>
          <p:spPr bwMode="gray">
            <a:xfrm>
              <a:off x="5090730" y="3992988"/>
              <a:ext cx="1714547" cy="1714547"/>
            </a:xfrm>
            <a:prstGeom prst="arc">
              <a:avLst>
                <a:gd name="adj1" fmla="val 10851493"/>
                <a:gd name="adj2" fmla="val 19983526"/>
              </a:avLst>
            </a:prstGeom>
            <a:noFill/>
            <a:ln w="12700" algn="ctr">
              <a:solidFill>
                <a:schemeClr val="accent4"/>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1" name="Arc 40"/>
            <p:cNvSpPr/>
            <p:nvPr/>
          </p:nvSpPr>
          <p:spPr bwMode="gray">
            <a:xfrm>
              <a:off x="2417292" y="1287390"/>
              <a:ext cx="1714547" cy="1714547"/>
            </a:xfrm>
            <a:prstGeom prst="arc">
              <a:avLst>
                <a:gd name="adj1" fmla="val 10944444"/>
                <a:gd name="adj2" fmla="val 19861694"/>
              </a:avLst>
            </a:prstGeom>
            <a:noFill/>
            <a:ln w="12700" algn="ctr">
              <a:solidFill>
                <a:schemeClr val="accent4"/>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2" name="Arc 41"/>
            <p:cNvSpPr/>
            <p:nvPr/>
          </p:nvSpPr>
          <p:spPr bwMode="gray">
            <a:xfrm>
              <a:off x="3752030" y="4009203"/>
              <a:ext cx="1714547" cy="1714547"/>
            </a:xfrm>
            <a:prstGeom prst="arc">
              <a:avLst>
                <a:gd name="adj1" fmla="val 2767028"/>
                <a:gd name="adj2" fmla="val 8942080"/>
              </a:avLst>
            </a:prstGeom>
            <a:noFill/>
            <a:ln w="12700" algn="ctr">
              <a:solidFill>
                <a:schemeClr val="accent4"/>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cxnSp>
          <p:nvCxnSpPr>
            <p:cNvPr id="43" name="Straight Connector 42"/>
            <p:cNvCxnSpPr/>
            <p:nvPr/>
          </p:nvCxnSpPr>
          <p:spPr>
            <a:xfrm>
              <a:off x="6512054" y="5756308"/>
              <a:ext cx="2631946" cy="0"/>
            </a:xfrm>
            <a:prstGeom prst="line">
              <a:avLst/>
            </a:prstGeom>
            <a:ln w="1270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228294" y="2563570"/>
              <a:ext cx="1149397" cy="0"/>
            </a:xfrm>
            <a:prstGeom prst="line">
              <a:avLst/>
            </a:prstGeom>
            <a:noFill/>
            <a:ln w="12700" algn="ctr">
              <a:solidFill>
                <a:schemeClr val="accent4"/>
              </a:solidFill>
              <a:prstDash val="dash"/>
              <a:miter lim="800000"/>
              <a:headEnd/>
              <a:tailEnd/>
            </a:ln>
          </p:spPr>
        </p:cxnSp>
      </p:grpSp>
      <p:sp>
        <p:nvSpPr>
          <p:cNvPr id="2" name="Rectangle 1">
            <a:extLst>
              <a:ext uri="{FF2B5EF4-FFF2-40B4-BE49-F238E27FC236}">
                <a16:creationId xmlns:a16="http://schemas.microsoft.com/office/drawing/2014/main" id="{C3135B5B-8268-455A-BCBB-D59050F36268}"/>
              </a:ext>
            </a:extLst>
          </p:cNvPr>
          <p:cNvSpPr/>
          <p:nvPr/>
        </p:nvSpPr>
        <p:spPr bwMode="gray">
          <a:xfrm>
            <a:off x="234176" y="6367346"/>
            <a:ext cx="3022736" cy="41259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6" name="Rectangle 45">
            <a:extLst>
              <a:ext uri="{FF2B5EF4-FFF2-40B4-BE49-F238E27FC236}">
                <a16:creationId xmlns:a16="http://schemas.microsoft.com/office/drawing/2014/main" id="{085DB597-E85B-4E0A-83CE-57472CD5ADC8}"/>
              </a:ext>
            </a:extLst>
          </p:cNvPr>
          <p:cNvSpPr/>
          <p:nvPr/>
        </p:nvSpPr>
        <p:spPr bwMode="gray">
          <a:xfrm>
            <a:off x="8425636" y="6367346"/>
            <a:ext cx="3022736" cy="41259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18202601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9108-Presentation_16x9_Timesaver_PPT_Jan2022 (1).pptx" id="{6BF7DA49-D6F5-4F19-AAC6-7DC45F3A1CD9}" vid="{84C4D3F8-1E44-46A9-99C4-7045F60941AA}"/>
    </a:ext>
  </a:extLst>
</a:theme>
</file>

<file path=ppt/theme/theme2.xml><?xml version="1.0" encoding="utf-8"?>
<a:theme xmlns:a="http://schemas.openxmlformats.org/drawingml/2006/main" name="1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37</TotalTime>
  <Words>646</Words>
  <Application>Microsoft Office PowerPoint</Application>
  <PresentationFormat>Widescreen</PresentationFormat>
  <Paragraphs>92</Paragraphs>
  <Slides>8</Slides>
  <Notes>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6" baseType="lpstr">
      <vt:lpstr>Arial</vt:lpstr>
      <vt:lpstr>Calibri</vt:lpstr>
      <vt:lpstr>Calibri Light</vt:lpstr>
      <vt:lpstr>Verdana</vt:lpstr>
      <vt:lpstr>Wingdings 2</vt:lpstr>
      <vt:lpstr>Deloitte Brand Theme</vt:lpstr>
      <vt:lpstr>1_Deloitte Brand Theme</vt:lpstr>
      <vt:lpstr>think-cell Slide</vt:lpstr>
      <vt:lpstr>AI Academy Capstone Project</vt:lpstr>
      <vt:lpstr>Overview</vt:lpstr>
      <vt:lpstr>Business Understanding</vt:lpstr>
      <vt:lpstr>PowerPoint Presentation</vt:lpstr>
      <vt:lpstr>PowerPoint Presentation</vt:lpstr>
      <vt:lpstr>PowerPoint Presentation</vt:lpstr>
      <vt:lpstr>PowerPoint Presentation</vt:lpstr>
      <vt:lpstr>Next Ste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 Academy Capstone</dc:title>
  <dc:creator>Baker, Jasmine</dc:creator>
  <cp:lastModifiedBy>Baker, Jasmine</cp:lastModifiedBy>
  <cp:revision>23</cp:revision>
  <dcterms:created xsi:type="dcterms:W3CDTF">2023-02-27T21:36:17Z</dcterms:created>
  <dcterms:modified xsi:type="dcterms:W3CDTF">2023-03-01T16:0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2-27T21:36:18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063b87af-e512-4415-badb-b70364513ef8</vt:lpwstr>
  </property>
  <property fmtid="{D5CDD505-2E9C-101B-9397-08002B2CF9AE}" pid="8" name="MSIP_Label_ea60d57e-af5b-4752-ac57-3e4f28ca11dc_ContentBits">
    <vt:lpwstr>0</vt:lpwstr>
  </property>
</Properties>
</file>